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93455" r:id="rId4"/>
  </p:sldMasterIdLst>
  <p:notesMasterIdLst>
    <p:notesMasterId r:id="rId21"/>
  </p:notesMasterIdLst>
  <p:handoutMasterIdLst>
    <p:handoutMasterId r:id="rId22"/>
  </p:handoutMasterIdLst>
  <p:sldIdLst>
    <p:sldId id="256" r:id="rId5"/>
    <p:sldId id="257" r:id="rId6"/>
    <p:sldId id="259" r:id="rId7"/>
    <p:sldId id="267" r:id="rId8"/>
    <p:sldId id="276" r:id="rId9"/>
    <p:sldId id="278" r:id="rId10"/>
    <p:sldId id="277" r:id="rId11"/>
    <p:sldId id="269" r:id="rId12"/>
    <p:sldId id="270" r:id="rId13"/>
    <p:sldId id="279" r:id="rId14"/>
    <p:sldId id="274" r:id="rId15"/>
    <p:sldId id="261" r:id="rId16"/>
    <p:sldId id="262" r:id="rId17"/>
    <p:sldId id="260" r:id="rId18"/>
    <p:sldId id="264" r:id="rId19"/>
    <p:sldId id="263" r:id="rId20"/>
  </p:sldIdLst>
  <p:sldSz cx="12192000" cy="6858000"/>
  <p:notesSz cx="6805613" cy="9939338"/>
  <p:custDataLst>
    <p:tags r:id="rId23"/>
  </p:custDataLst>
  <p:defaultTextStyle>
    <a:defPPr>
      <a:defRPr lang="en-US"/>
    </a:defPPr>
    <a:lvl1pPr marL="0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393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786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180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572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6964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357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5752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144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äsentation" id="{FBA2C438-A406-4D32-8E1A-DC4A692BCB94}">
          <p14:sldIdLst>
            <p14:sldId id="256"/>
            <p14:sldId id="257"/>
            <p14:sldId id="259"/>
            <p14:sldId id="267"/>
            <p14:sldId id="276"/>
            <p14:sldId id="278"/>
            <p14:sldId id="277"/>
            <p14:sldId id="269"/>
            <p14:sldId id="270"/>
            <p14:sldId id="279"/>
            <p14:sldId id="274"/>
            <p14:sldId id="261"/>
            <p14:sldId id="262"/>
          </p14:sldIdLst>
        </p14:section>
        <p14:section name="Erklärungsfolien" id="{7421DB15-0944-4194-A22D-9AC828BA0DDB}">
          <p14:sldIdLst>
            <p14:sldId id="260"/>
            <p14:sldId id="264"/>
            <p14:sldId id="263"/>
          </p14:sldIdLst>
        </p14:section>
      </p14:sectionLst>
    </p:ext>
    <p:ext uri="{EFAFB233-063F-42B5-8137-9DF3F51BA10A}">
      <p15:sldGuideLst xmlns:p15="http://schemas.microsoft.com/office/powerpoint/2012/main">
        <p15:guide id="22" orient="horz" pos="5504" userDrawn="1">
          <p15:clr>
            <a:srgbClr val="A4A3A4"/>
          </p15:clr>
        </p15:guide>
        <p15:guide id="2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918">
          <p15:clr>
            <a:srgbClr val="A4A3A4"/>
          </p15:clr>
        </p15:guide>
        <p15:guide id="4" orient="horz" pos="2779">
          <p15:clr>
            <a:srgbClr val="A4A3A4"/>
          </p15:clr>
        </p15:guide>
        <p15:guide id="5" orient="horz" pos="431">
          <p15:clr>
            <a:srgbClr val="A4A3A4"/>
          </p15:clr>
        </p15:guide>
        <p15:guide id="6" orient="horz" pos="5793">
          <p15:clr>
            <a:srgbClr val="A4A3A4"/>
          </p15:clr>
        </p15:guide>
        <p15:guide id="7" orient="horz" pos="5966">
          <p15:clr>
            <a:srgbClr val="A4A3A4"/>
          </p15:clr>
        </p15:guide>
        <p15:guide id="8" orient="horz" pos="6089">
          <p15:clr>
            <a:srgbClr val="A4A3A4"/>
          </p15:clr>
        </p15:guide>
        <p15:guide id="9" orient="horz" pos="318">
          <p15:clr>
            <a:srgbClr val="A4A3A4"/>
          </p15:clr>
        </p15:guide>
        <p15:guide id="10" orient="horz" pos="197">
          <p15:clr>
            <a:srgbClr val="A4A3A4"/>
          </p15:clr>
        </p15:guide>
        <p15:guide id="11" pos="591">
          <p15:clr>
            <a:srgbClr val="A4A3A4"/>
          </p15:clr>
        </p15:guide>
        <p15:guide id="12" pos="3719">
          <p15:clr>
            <a:srgbClr val="A4A3A4"/>
          </p15:clr>
        </p15:guide>
        <p15:guide id="13" orient="horz" pos="2200">
          <p15:clr>
            <a:srgbClr val="A4A3A4"/>
          </p15:clr>
        </p15:guide>
        <p15:guide id="14" orient="horz" pos="2518">
          <p15:clr>
            <a:srgbClr val="A4A3A4"/>
          </p15:clr>
        </p15:guide>
        <p15:guide id="15" orient="horz" pos="24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313396-223C-9242-94DE-B3E1E3C783A7}" v="20" dt="2024-06-21T06:54:01.459"/>
  </p1510:revLst>
</p1510:revInfo>
</file>

<file path=ppt/tableStyles.xml><?xml version="1.0" encoding="utf-8"?>
<a:tblStyleLst xmlns:a="http://schemas.openxmlformats.org/drawingml/2006/main" def="{E8B1032C-EA38-4F05-BA0D-38AFFFC7BED3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30" autoAdjust="0"/>
    <p:restoredTop sz="96327" autoAdjust="0"/>
  </p:normalViewPr>
  <p:slideViewPr>
    <p:cSldViewPr snapToObjects="1">
      <p:cViewPr varScale="1">
        <p:scale>
          <a:sx n="146" d="100"/>
          <a:sy n="146" d="100"/>
        </p:scale>
        <p:origin x="792" y="312"/>
      </p:cViewPr>
      <p:guideLst>
        <p:guide orient="horz" pos="550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Objects="1" showGuides="1">
      <p:cViewPr>
        <p:scale>
          <a:sx n="125" d="100"/>
          <a:sy n="125" d="100"/>
        </p:scale>
        <p:origin x="2967" y="-531"/>
      </p:cViewPr>
      <p:guideLst>
        <p:guide orient="horz" pos="2160"/>
        <p:guide pos="2880"/>
        <p:guide orient="horz" pos="2918"/>
        <p:guide orient="horz" pos="2779"/>
        <p:guide orient="horz" pos="431"/>
        <p:guide orient="horz" pos="5793"/>
        <p:guide orient="horz" pos="5966"/>
        <p:guide orient="horz" pos="6089"/>
        <p:guide orient="horz" pos="318"/>
        <p:guide orient="horz" pos="197"/>
        <p:guide pos="591"/>
        <p:guide pos="3719"/>
        <p:guide orient="horz" pos="2200"/>
        <p:guide orient="horz" pos="2518"/>
        <p:guide orient="horz" pos="24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uppieren 62"/>
          <p:cNvGrpSpPr/>
          <p:nvPr/>
        </p:nvGrpSpPr>
        <p:grpSpPr bwMode="gray">
          <a:xfrm>
            <a:off x="-154558" y="-155482"/>
            <a:ext cx="7114729" cy="10250302"/>
            <a:chOff x="-155748" y="-143040"/>
            <a:chExt cx="7169496" cy="9430081"/>
          </a:xfrm>
        </p:grpSpPr>
        <p:grpSp>
          <p:nvGrpSpPr>
            <p:cNvPr id="64" name="Gruppieren 63"/>
            <p:cNvGrpSpPr/>
            <p:nvPr/>
          </p:nvGrpSpPr>
          <p:grpSpPr bwMode="gray">
            <a:xfrm>
              <a:off x="-155748" y="253998"/>
              <a:ext cx="7169496" cy="8672517"/>
              <a:chOff x="-174801" y="253998"/>
              <a:chExt cx="7169496" cy="8672517"/>
            </a:xfrm>
          </p:grpSpPr>
          <p:grpSp>
            <p:nvGrpSpPr>
              <p:cNvPr id="72" name="Gruppieren 71"/>
              <p:cNvGrpSpPr/>
              <p:nvPr/>
            </p:nvGrpSpPr>
            <p:grpSpPr bwMode="gray">
              <a:xfrm>
                <a:off x="-174801" y="253998"/>
                <a:ext cx="57496" cy="8672517"/>
                <a:chOff x="-174801" y="253998"/>
                <a:chExt cx="57496" cy="8672517"/>
              </a:xfrm>
            </p:grpSpPr>
            <p:sp>
              <p:nvSpPr>
                <p:cNvPr id="82" name="Gleichschenkliges Dreieck 81"/>
                <p:cNvSpPr/>
                <p:nvPr/>
              </p:nvSpPr>
              <p:spPr bwMode="gray">
                <a:xfrm rot="5400000">
                  <a:off x="-179384" y="258596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3" name="Gleichschenkliges Dreieck 82"/>
                <p:cNvSpPr/>
                <p:nvPr/>
              </p:nvSpPr>
              <p:spPr bwMode="gray">
                <a:xfrm rot="5400000">
                  <a:off x="-179385" y="439573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4" name="Gleichschenkliges Dreieck 83"/>
                <p:cNvSpPr/>
                <p:nvPr/>
              </p:nvSpPr>
              <p:spPr bwMode="gray">
                <a:xfrm rot="5400000">
                  <a:off x="-179386" y="58244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5" name="Gleichschenkliges Dreieck 84"/>
                <p:cNvSpPr/>
                <p:nvPr/>
              </p:nvSpPr>
              <p:spPr bwMode="gray">
                <a:xfrm rot="5400000">
                  <a:off x="-179392" y="319087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6" name="Gleichschenkliges Dreieck 85"/>
                <p:cNvSpPr/>
                <p:nvPr/>
              </p:nvSpPr>
              <p:spPr bwMode="gray">
                <a:xfrm rot="5400000">
                  <a:off x="-179393" y="351283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7" name="Gleichschenkliges Dreieck 86"/>
                <p:cNvSpPr/>
                <p:nvPr/>
              </p:nvSpPr>
              <p:spPr bwMode="gray">
                <a:xfrm rot="5400000">
                  <a:off x="-179397" y="8429460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8" name="Gleichschenkliges Dreieck 87"/>
                <p:cNvSpPr/>
                <p:nvPr/>
              </p:nvSpPr>
              <p:spPr bwMode="gray">
                <a:xfrm rot="5400000">
                  <a:off x="-179398" y="868345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9" name="Gleichschenkliges Dreieck 88"/>
                <p:cNvSpPr/>
                <p:nvPr/>
              </p:nvSpPr>
              <p:spPr bwMode="gray">
                <a:xfrm rot="5400000">
                  <a:off x="-179399" y="886443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73" name="Gruppieren 72"/>
              <p:cNvGrpSpPr/>
              <p:nvPr/>
            </p:nvGrpSpPr>
            <p:grpSpPr bwMode="gray">
              <a:xfrm flipH="1">
                <a:off x="6937199" y="253998"/>
                <a:ext cx="57496" cy="8672517"/>
                <a:chOff x="-174801" y="253998"/>
                <a:chExt cx="57496" cy="8672517"/>
              </a:xfrm>
            </p:grpSpPr>
            <p:sp>
              <p:nvSpPr>
                <p:cNvPr id="74" name="Gleichschenkliges Dreieck 73"/>
                <p:cNvSpPr/>
                <p:nvPr/>
              </p:nvSpPr>
              <p:spPr bwMode="gray">
                <a:xfrm rot="5400000">
                  <a:off x="-179384" y="258596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5" name="Gleichschenkliges Dreieck 74"/>
                <p:cNvSpPr/>
                <p:nvPr/>
              </p:nvSpPr>
              <p:spPr bwMode="gray">
                <a:xfrm rot="5400000">
                  <a:off x="-179385" y="439573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6" name="Gleichschenkliges Dreieck 75"/>
                <p:cNvSpPr/>
                <p:nvPr/>
              </p:nvSpPr>
              <p:spPr bwMode="gray">
                <a:xfrm rot="5400000">
                  <a:off x="-179386" y="58244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7" name="Gleichschenkliges Dreieck 76"/>
                <p:cNvSpPr/>
                <p:nvPr/>
              </p:nvSpPr>
              <p:spPr bwMode="gray">
                <a:xfrm rot="5400000">
                  <a:off x="-179391" y="319087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8" name="Gleichschenkliges Dreieck 77"/>
                <p:cNvSpPr/>
                <p:nvPr/>
              </p:nvSpPr>
              <p:spPr bwMode="gray">
                <a:xfrm rot="5400000">
                  <a:off x="-179392" y="351283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9" name="Gleichschenkliges Dreieck 78"/>
                <p:cNvSpPr/>
                <p:nvPr/>
              </p:nvSpPr>
              <p:spPr bwMode="gray">
                <a:xfrm rot="5400000">
                  <a:off x="-179397" y="8429460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0" name="Gleichschenkliges Dreieck 79"/>
                <p:cNvSpPr/>
                <p:nvPr/>
              </p:nvSpPr>
              <p:spPr bwMode="gray">
                <a:xfrm rot="5400000">
                  <a:off x="-179398" y="868345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1" name="Gleichschenkliges Dreieck 80"/>
                <p:cNvSpPr/>
                <p:nvPr/>
              </p:nvSpPr>
              <p:spPr bwMode="gray">
                <a:xfrm rot="5400000">
                  <a:off x="-179399" y="886443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65" name="Gruppieren 64"/>
            <p:cNvGrpSpPr/>
            <p:nvPr/>
          </p:nvGrpSpPr>
          <p:grpSpPr bwMode="gray">
            <a:xfrm>
              <a:off x="911223" y="-143040"/>
              <a:ext cx="5072066" cy="9430081"/>
              <a:chOff x="911223" y="-158975"/>
              <a:chExt cx="5072066" cy="9430081"/>
            </a:xfrm>
          </p:grpSpPr>
          <p:grpSp>
            <p:nvGrpSpPr>
              <p:cNvPr id="66" name="Gruppieren 65"/>
              <p:cNvGrpSpPr/>
              <p:nvPr/>
            </p:nvGrpSpPr>
            <p:grpSpPr bwMode="gray">
              <a:xfrm>
                <a:off x="911223" y="-158975"/>
                <a:ext cx="5072066" cy="57481"/>
                <a:chOff x="911223" y="-158975"/>
                <a:chExt cx="5072066" cy="57481"/>
              </a:xfrm>
            </p:grpSpPr>
            <p:sp>
              <p:nvSpPr>
                <p:cNvPr id="70" name="Gleichschenkliges Dreieck 69"/>
                <p:cNvSpPr/>
                <p:nvPr/>
              </p:nvSpPr>
              <p:spPr bwMode="gray">
                <a:xfrm rot="10800000">
                  <a:off x="911223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1" name="Gleichschenkliges Dreieck 70"/>
                <p:cNvSpPr/>
                <p:nvPr/>
              </p:nvSpPr>
              <p:spPr bwMode="gray">
                <a:xfrm rot="10800000">
                  <a:off x="5916611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67" name="Gruppieren 66"/>
              <p:cNvGrpSpPr/>
              <p:nvPr/>
            </p:nvGrpSpPr>
            <p:grpSpPr bwMode="gray">
              <a:xfrm flipV="1">
                <a:off x="911223" y="9213625"/>
                <a:ext cx="5072066" cy="57481"/>
                <a:chOff x="911223" y="-158975"/>
                <a:chExt cx="5072066" cy="57481"/>
              </a:xfrm>
            </p:grpSpPr>
            <p:sp>
              <p:nvSpPr>
                <p:cNvPr id="68" name="Gleichschenkliges Dreieck 67"/>
                <p:cNvSpPr/>
                <p:nvPr/>
              </p:nvSpPr>
              <p:spPr bwMode="gray">
                <a:xfrm rot="10800000">
                  <a:off x="911223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9" name="Gleichschenkliges Dreieck 68"/>
                <p:cNvSpPr/>
                <p:nvPr/>
              </p:nvSpPr>
              <p:spPr bwMode="gray">
                <a:xfrm rot="10800000">
                  <a:off x="5916611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 bwMode="gray">
          <a:xfrm>
            <a:off x="937347" y="312330"/>
            <a:ext cx="3287226" cy="1846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</a:lstStyle>
          <a:p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939151" y="312330"/>
            <a:ext cx="965348" cy="196716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300"/>
            </a:lvl1pPr>
          </a:lstStyle>
          <a:p>
            <a:fld id="{A031DBC6-A481-4C45-8DB3-0C598107CDE9}" type="datetimeFigureOut">
              <a:rPr lang="de-DE" sz="1000">
                <a:solidFill>
                  <a:schemeClr val="tx2"/>
                </a:solidFill>
              </a:rPr>
              <a:t>20.06.2024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937347" y="9469981"/>
            <a:ext cx="3430142" cy="19671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/>
            </a:lvl1pPr>
          </a:lstStyle>
          <a:p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5224984" y="9469981"/>
            <a:ext cx="679516" cy="1967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300"/>
            </a:lvl1pPr>
          </a:lstStyle>
          <a:p>
            <a:fld id="{050927EF-6445-814E-B74D-F3EF878A1E88}" type="slidenum">
              <a:rPr lang="de-DE" sz="1000">
                <a:solidFill>
                  <a:schemeClr val="tx2"/>
                </a:solidFill>
              </a:rPr>
              <a:t>‹#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636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937347" y="312330"/>
            <a:ext cx="3823161" cy="19671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5260713" y="312332"/>
            <a:ext cx="643786" cy="192494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F4666C0-FA6C-45BA-BD66-E1C9FC5B12A8}" type="datetimeFigureOut">
              <a:rPr lang="de-DE" smtClean="0"/>
              <a:pPr/>
              <a:t>20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33450" y="684213"/>
            <a:ext cx="4972050" cy="2797175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5680" tIns="47840" rIns="95680" bIns="4784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37346" y="3961557"/>
            <a:ext cx="4967153" cy="523233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937348" y="9469980"/>
            <a:ext cx="3680245" cy="19671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5475088" y="9469981"/>
            <a:ext cx="429412" cy="1967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5799BF5-2177-414B-8A81-41618E50EDB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6058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1218786" rtl="0" eaLnBrk="1" latinLnBrk="0" hangingPunct="1">
      <a:spcBef>
        <a:spcPts val="267"/>
      </a:spcBef>
      <a:spcAft>
        <a:spcPts val="267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1218786" rtl="0" eaLnBrk="1" latinLnBrk="0" hangingPunct="1">
      <a:spcBef>
        <a:spcPts val="267"/>
      </a:spcBef>
      <a:spcAft>
        <a:spcPts val="267"/>
      </a:spcAft>
      <a:defRPr sz="1000" b="1" kern="1200">
        <a:solidFill>
          <a:schemeClr val="tx1"/>
        </a:solidFill>
        <a:latin typeface="+mn-lt"/>
        <a:ea typeface="+mn-ea"/>
        <a:cs typeface="+mn-cs"/>
      </a:defRPr>
    </a:lvl2pPr>
    <a:lvl3pPr marL="179388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358775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Font typeface="Symbol" panose="05050102010706020507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79388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449263" indent="-269875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SzPct val="90000"/>
      <a:buFont typeface="+mj-lt"/>
      <a:buAutoNum type="alphaLcParenR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1218786" rtl="0" eaLnBrk="1" latinLnBrk="0" hangingPunct="1">
      <a:lnSpc>
        <a:spcPct val="80000"/>
      </a:lnSpc>
      <a:spcBef>
        <a:spcPts val="800"/>
      </a:spcBef>
      <a:spcAft>
        <a:spcPts val="800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1218786" rtl="0" eaLnBrk="1" latinLnBrk="0" hangingPunct="1">
      <a:lnSpc>
        <a:spcPct val="80000"/>
      </a:lnSpc>
      <a:spcBef>
        <a:spcPts val="800"/>
      </a:spcBef>
      <a:spcAft>
        <a:spcPts val="800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1218786" rtl="0" eaLnBrk="1" latinLnBrk="0" hangingPunct="1">
      <a:spcBef>
        <a:spcPts val="267"/>
      </a:spcBef>
      <a:spcAft>
        <a:spcPts val="267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335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661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683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425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2321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21119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001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2013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6174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ckblat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4907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F7F33227-FED5-457F-81D4-E74627327F01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4" name="Gruppieren 73"/>
          <p:cNvGrpSpPr/>
          <p:nvPr userDrawn="1"/>
        </p:nvGrpSpPr>
        <p:grpSpPr bwMode="gray">
          <a:xfrm>
            <a:off x="4686657" y="2866800"/>
            <a:ext cx="2818700" cy="1124410"/>
            <a:chOff x="-64593788" y="4924426"/>
            <a:chExt cx="63238063" cy="25223786"/>
          </a:xfrm>
        </p:grpSpPr>
        <p:sp>
          <p:nvSpPr>
            <p:cNvPr id="12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3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4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5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6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7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8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9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0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1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2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3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4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5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6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7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8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9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0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1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2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61" name="Gruppieren 60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62" name="Gleichschenkliges Dreieck 61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3" name="Gleichschenkliges Dreieck 62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4" name="Gleichschenkliges Dreieck 63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5" name="Gleichschenkliges Dreieck 64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6" name="Gleichschenkliges Dreieck 65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7" name="Gleichschenkliges Dreieck 66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8" name="Gleichschenkliges Dreieck 67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9" name="Gleichschenkliges Dreieck 68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0" name="Gleichschenkliges Dreieck 69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1" name="Gleichschenkliges Dreieck 70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2" name="Gleichschenkliges Dreieck 71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3" name="Gleichschenkliges Dreieck 72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5" name="Gleichschenkliges Dreieck 74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6" name="Gleichschenkliges Dreieck 75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7" name="Gleichschenkliges Dreieck 76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Gleichschenkliges Dreieck 77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9" name="Gleichschenkliges Dreieck 78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Gleichschenkliges Dreieck 79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Gleichschenkliges Dreieck 80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2" name="Gleichschenkliges Dreieck 81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3" name="Gleichschenkliges Dreieck 82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83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5" name="Gleichschenkliges Dreieck 84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6" name="Gleichschenkliges Dreieck 85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Gleichschenkliges Dreieck 86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8" name="Gleichschenkliges Dreieck 87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Gleichschenkliges Dreieck 89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1" name="Gleichschenkliges Dreieck 90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91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50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40463" y="1483200"/>
            <a:ext cx="5543495" cy="489855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 bwMode="gray">
          <a:xfrm>
            <a:off x="406454" y="1484313"/>
            <a:ext cx="5544271" cy="489743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740B768-3BC9-4C97-A6B2-165F9F8CFA33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1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72219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95775" y="1484314"/>
            <a:ext cx="7488238" cy="4897436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 bwMode="gray">
          <a:xfrm>
            <a:off x="406400" y="1484314"/>
            <a:ext cx="3602038" cy="489743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80D19AA-D213-4663-986A-6800CEE1CA58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1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80948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6454" y="1484313"/>
            <a:ext cx="11377559" cy="4897437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8C686B1-BBF4-448D-A459-6412932910CD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59877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1484313"/>
            <a:ext cx="12192000" cy="5373691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8C686B1-BBF4-448D-A459-6412932910CD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2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 userDrawn="1"/>
        </p:nvSpPr>
        <p:spPr bwMode="gray">
          <a:xfrm>
            <a:off x="406453" y="4545128"/>
            <a:ext cx="11377506" cy="1584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b="1" noProof="0" dirty="0">
                <a:solidFill>
                  <a:schemeClr val="tx2"/>
                </a:solidFill>
                <a:latin typeface="+mn-lt"/>
                <a:cs typeface="Segoe UI"/>
              </a:rPr>
              <a:t>MHP Management- und IT-Beratung GmbH</a:t>
            </a:r>
            <a:br>
              <a:rPr lang="en-US" sz="1300" b="1" noProof="0" dirty="0">
                <a:solidFill>
                  <a:schemeClr val="tx2"/>
                </a:solidFill>
                <a:latin typeface="+mn-lt"/>
                <a:cs typeface="Segoe UI"/>
              </a:rPr>
            </a:br>
            <a:br>
              <a:rPr lang="de-DE" sz="1300" noProof="0" dirty="0">
                <a:solidFill>
                  <a:schemeClr val="tx2"/>
                </a:solidFill>
                <a:latin typeface="+mn-lt"/>
                <a:cs typeface="Segoe UI"/>
              </a:rPr>
            </a:br>
            <a:r>
              <a:rPr lang="de-DE" sz="1300" noProof="0" dirty="0">
                <a:solidFill>
                  <a:schemeClr val="tx2"/>
                </a:solidFill>
                <a:latin typeface="+mn-lt"/>
                <a:cs typeface="Segoe UI"/>
              </a:rPr>
              <a:t>Film- und Medienzentrum  l  Königsallee 49  l  D-71638 Ludwigsburg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>
                <a:solidFill>
                  <a:schemeClr val="tx2"/>
                </a:solidFill>
                <a:latin typeface="+mn-lt"/>
                <a:cs typeface="Segoe UI"/>
                <a:sym typeface="Wingdings 2" charset="0"/>
              </a:rPr>
              <a:t>Telefon +49 (0)7141 7856-0  l  Fax +49 (0)7141 7856-199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 err="1">
                <a:solidFill>
                  <a:schemeClr val="tx2"/>
                </a:solidFill>
                <a:latin typeface="+mn-lt"/>
                <a:cs typeface="Segoe UI"/>
                <a:sym typeface="Wingdings 2" charset="0"/>
              </a:rPr>
              <a:t>eMail</a:t>
            </a:r>
            <a:r>
              <a:rPr lang="de-DE" sz="1300" noProof="0" dirty="0">
                <a:solidFill>
                  <a:schemeClr val="tx2"/>
                </a:solidFill>
                <a:latin typeface="+mn-lt"/>
                <a:cs typeface="Segoe UI"/>
                <a:sym typeface="Wingdings 2" charset="0"/>
              </a:rPr>
              <a:t> info@mhp.com  l  Internet www.mhp.com</a:t>
            </a:r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55" y="3325518"/>
            <a:ext cx="7776586" cy="643231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500" b="0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r>
              <a:rPr lang="de-DE" dirty="0"/>
              <a:t>Vorname.Nachname@mhp.com</a:t>
            </a:r>
          </a:p>
        </p:txBody>
      </p:sp>
      <p:sp>
        <p:nvSpPr>
          <p:cNvPr id="13" name="Titel 1"/>
          <p:cNvSpPr txBox="1">
            <a:spLocks/>
          </p:cNvSpPr>
          <p:nvPr userDrawn="1"/>
        </p:nvSpPr>
        <p:spPr bwMode="gray">
          <a:xfrm>
            <a:off x="406454" y="1988841"/>
            <a:ext cx="7776586" cy="103251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"/>
                <a:ea typeface="+mj-ea"/>
                <a:cs typeface="+mj-cs"/>
              </a:defRPr>
            </a:lvl1pPr>
          </a:lstStyle>
          <a:p>
            <a:r>
              <a:rPr lang="de-DE" sz="3600" dirty="0">
                <a:solidFill>
                  <a:schemeClr val="accent1"/>
                </a:solidFill>
              </a:rPr>
              <a:t>Herzlichen Dank</a:t>
            </a:r>
            <a:br>
              <a:rPr lang="de-DE" sz="3600" dirty="0">
                <a:solidFill>
                  <a:schemeClr val="accent1"/>
                </a:solidFill>
              </a:rPr>
            </a:br>
            <a:r>
              <a:rPr lang="de-DE" sz="3600" dirty="0">
                <a:solidFill>
                  <a:schemeClr val="accent1"/>
                </a:solidFill>
              </a:rPr>
              <a:t>für Ihre Aufmerksamkeit!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17438" y="6858004"/>
            <a:ext cx="1391970" cy="260350"/>
          </a:xfrm>
        </p:spPr>
        <p:txBody>
          <a:bodyPr/>
          <a:lstStyle/>
          <a:p>
            <a:fld id="{681A5632-900B-4722-96B8-2E655D6B8254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406454" y="6858003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409406" y="6858002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43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72CBCFA-1FED-4FF1-BDA6-00954ADDC5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05" b="7791"/>
          <a:stretch/>
        </p:blipFill>
        <p:spPr>
          <a:xfrm>
            <a:off x="-2320" y="1484312"/>
            <a:ext cx="12192000" cy="5380043"/>
          </a:xfrm>
          <a:prstGeom prst="rect">
            <a:avLst/>
          </a:prstGeom>
        </p:spPr>
      </p:pic>
      <p:sp>
        <p:nvSpPr>
          <p:cNvPr id="13" name="Rectangle 10"/>
          <p:cNvSpPr>
            <a:spLocks noChangeArrowheads="1"/>
          </p:cNvSpPr>
          <p:nvPr userDrawn="1"/>
        </p:nvSpPr>
        <p:spPr bwMode="gray">
          <a:xfrm>
            <a:off x="406452" y="4545128"/>
            <a:ext cx="11377506" cy="1584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endParaRPr lang="en-US" sz="1300" noProof="0" dirty="0">
              <a:solidFill>
                <a:schemeClr val="bg1"/>
              </a:solidFill>
              <a:latin typeface="+mn-lt"/>
              <a:cs typeface="Segoe UI"/>
            </a:endParaRP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b="1" noProof="0" dirty="0">
                <a:solidFill>
                  <a:schemeClr val="bg1"/>
                </a:solidFill>
                <a:latin typeface="+mn-lt"/>
                <a:cs typeface="Segoe UI"/>
              </a:rPr>
              <a:t>MHP Management- und IT-Beratung GmbH</a:t>
            </a:r>
            <a:br>
              <a:rPr lang="en-US" sz="1300" b="1" noProof="0" dirty="0">
                <a:solidFill>
                  <a:schemeClr val="bg1"/>
                </a:solidFill>
                <a:latin typeface="+mn-lt"/>
                <a:cs typeface="Segoe UI"/>
              </a:rPr>
            </a:br>
            <a:br>
              <a:rPr lang="de-DE" sz="1300" noProof="0" dirty="0">
                <a:solidFill>
                  <a:schemeClr val="bg1"/>
                </a:solidFill>
                <a:latin typeface="+mn-lt"/>
                <a:cs typeface="Segoe UI"/>
              </a:rPr>
            </a:br>
            <a:r>
              <a:rPr lang="de-DE" sz="1300" noProof="0" dirty="0">
                <a:solidFill>
                  <a:schemeClr val="bg1"/>
                </a:solidFill>
                <a:latin typeface="+mn-lt"/>
                <a:cs typeface="Segoe UI"/>
              </a:rPr>
              <a:t>Film- und Medienzentrum  l  Königsallee 49  l  D-71638 Ludwigsburg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Telefon +49 (0)7141 7856-0  l  Fax +49 (0)7141 7856-199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 err="1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eMail</a:t>
            </a:r>
            <a:r>
              <a:rPr lang="de-DE" sz="1300" noProof="0" dirty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 info@mhp.com  l  Internet www.mhp.com</a:t>
            </a:r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54" y="3325518"/>
            <a:ext cx="7776587" cy="623551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r>
              <a:rPr lang="de-DE" dirty="0"/>
              <a:t>Vorname.Nachname@mhp.com</a:t>
            </a:r>
          </a:p>
        </p:txBody>
      </p:sp>
      <p:sp>
        <p:nvSpPr>
          <p:cNvPr id="18" name="Titel 1"/>
          <p:cNvSpPr txBox="1">
            <a:spLocks/>
          </p:cNvSpPr>
          <p:nvPr userDrawn="1"/>
        </p:nvSpPr>
        <p:spPr bwMode="gray">
          <a:xfrm>
            <a:off x="406455" y="1988841"/>
            <a:ext cx="7776586" cy="103251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"/>
                <a:ea typeface="+mj-ea"/>
                <a:cs typeface="+mj-cs"/>
              </a:defRPr>
            </a:lvl1pPr>
          </a:lstStyle>
          <a:p>
            <a:r>
              <a:rPr lang="de-DE" sz="3600" dirty="0">
                <a:solidFill>
                  <a:schemeClr val="bg1"/>
                </a:solidFill>
              </a:rPr>
              <a:t>Herzlichen Dank</a:t>
            </a:r>
            <a:br>
              <a:rPr lang="de-DE" sz="3600" dirty="0">
                <a:solidFill>
                  <a:schemeClr val="bg1"/>
                </a:solidFill>
              </a:rPr>
            </a:br>
            <a:r>
              <a:rPr lang="de-DE" sz="3600" dirty="0">
                <a:solidFill>
                  <a:schemeClr val="bg1"/>
                </a:solidFill>
              </a:rPr>
              <a:t>für Ihre Aufmerksamkeit!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17438" y="6854831"/>
            <a:ext cx="1391970" cy="260350"/>
          </a:xfrm>
        </p:spPr>
        <p:txBody>
          <a:bodyPr/>
          <a:lstStyle/>
          <a:p>
            <a:fld id="{CCB24A32-4369-497F-8A79-128AF69675CB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406454" y="6854830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409406" y="6854829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34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881A3782-5D6E-47EF-94E3-C7FB9A29F086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953886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3CAC8B5F-4DA7-47D2-B58A-1D9542AC3787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1355279" y="6610351"/>
            <a:ext cx="100026" cy="13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89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inweiß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3CAC8B5F-4DA7-47D2-B58A-1D9542AC3787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1355279" y="6610351"/>
            <a:ext cx="100026" cy="13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 dirty="0" err="1">
              <a:solidFill>
                <a:schemeClr val="bg1"/>
              </a:solidFill>
            </a:endParaRP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7" name="Gleichschenkliges Dreieck 6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" name="Gleichschenkliges Dreieck 7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" name="Gleichschenkliges Dreieck 8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0" name="Gleichschenkliges Dreieck 9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1" name="Gleichschenkliges Dreieck 10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2" name="Gleichschenkliges Dreieck 11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3" name="Gleichschenkliges Dreieck 12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4" name="Gleichschenkliges Dreieck 13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5" name="Gleichschenkliges Dreieck 14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Gleichschenkliges Dreieck 15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7" name="Gleichschenkliges Dreieck 16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8" name="Gleichschenkliges Dreieck 17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9" name="Gleichschenkliges Dreieck 18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0" name="Gleichschenkliges Dreieck 19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Gleichschenkliges Dreieck 20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Gleichschenkliges Dreieck 21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3" name="Gleichschenkliges Dreieck 22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4" name="Gleichschenkliges Dreieck 23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Gleichschenkliges Dreieck 24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6" name="Gleichschenkliges Dreieck 25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7" name="Gleichschenkliges Dreieck 26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Gleichschenkliges Dreieck 27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9" name="Gleichschenkliges Dreieck 28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0" name="Gleichschenkliges Dreieck 29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1" name="Gleichschenkliges Dreieck 30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2" name="Gleichschenkliges Dreieck 31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3" name="Gleichschenkliges Dreieck 32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4" name="Gleichschenkliges Dreieck 33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5" name="Gleichschenkliges Dreieck 34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Gleichschenkliges Dreieck 35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554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BF6BF2A-AE47-41E7-B7CF-7764446C6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05" b="7791"/>
          <a:stretch/>
        </p:blipFill>
        <p:spPr>
          <a:xfrm>
            <a:off x="-2320" y="1484312"/>
            <a:ext cx="12192000" cy="5380043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 bwMode="gray">
          <a:xfrm>
            <a:off x="406453" y="6597657"/>
            <a:ext cx="7489213" cy="26034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de-DE" sz="1000" dirty="0">
                <a:solidFill>
                  <a:schemeClr val="bg1"/>
                </a:solidFill>
                <a:latin typeface="+mn-lt"/>
                <a:cs typeface="Segoe UI"/>
              </a:rPr>
              <a:t>© MHP Management- und IT-Beratung GmbH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53" y="3032314"/>
            <a:ext cx="11377506" cy="2808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32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406453" y="1484313"/>
            <a:ext cx="11377506" cy="1548000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55" y="5840314"/>
            <a:ext cx="7489212" cy="25251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75000"/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75000"/>
              <a:buFont typeface="Wingdings" charset="2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charset="2"/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Vortragende(r)  l  Veranstaltung</a:t>
            </a:r>
          </a:p>
        </p:txBody>
      </p:sp>
    </p:spTree>
    <p:extLst>
      <p:ext uri="{BB962C8B-B14F-4D97-AF65-F5344CB8AC3E}">
        <p14:creationId xmlns:p14="http://schemas.microsoft.com/office/powerpoint/2010/main" val="71697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Kunden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263FF8A2-96C4-4851-94C8-79373C3EF5E8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6454" y="404814"/>
            <a:ext cx="7776587" cy="79216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007372" y="2692544"/>
            <a:ext cx="4175669" cy="2208643"/>
          </a:xfrm>
        </p:spPr>
        <p:txBody>
          <a:bodyPr tIns="28800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/>
              <a:t>Auf Icon klicken, </a:t>
            </a:r>
            <a:br>
              <a:rPr lang="de-DE" noProof="0" dirty="0"/>
            </a:br>
            <a:r>
              <a:rPr lang="de-DE" noProof="0" dirty="0"/>
              <a:t>um ein Kundenlogo einzufügen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1355279" y="6610351"/>
            <a:ext cx="100026" cy="13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6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>
            <a:extLst>
              <a:ext uri="{FF2B5EF4-FFF2-40B4-BE49-F238E27FC236}">
                <a16:creationId xmlns:a16="http://schemas.microsoft.com/office/drawing/2014/main" id="{743EEAB8-1B2A-45CC-8D5F-502295D319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68" b="7791"/>
          <a:stretch/>
        </p:blipFill>
        <p:spPr>
          <a:xfrm>
            <a:off x="-2320" y="0"/>
            <a:ext cx="12192000" cy="6864356"/>
          </a:xfrm>
          <a:prstGeom prst="rect">
            <a:avLst/>
          </a:prstGeom>
        </p:spPr>
      </p:pic>
      <p:sp>
        <p:nvSpPr>
          <p:cNvPr id="18" name="Rechteck 17"/>
          <p:cNvSpPr/>
          <p:nvPr userDrawn="1"/>
        </p:nvSpPr>
        <p:spPr bwMode="gray">
          <a:xfrm>
            <a:off x="406454" y="0"/>
            <a:ext cx="11785546" cy="6858004"/>
          </a:xfrm>
          <a:custGeom>
            <a:avLst/>
            <a:gdLst/>
            <a:ahLst/>
            <a:cxnLst/>
            <a:rect l="l" t="t" r="r" b="b"/>
            <a:pathLst>
              <a:path w="11785546" h="6858004">
                <a:moveTo>
                  <a:pt x="1204711" y="0"/>
                </a:moveTo>
                <a:lnTo>
                  <a:pt x="1585090" y="0"/>
                </a:lnTo>
                <a:lnTo>
                  <a:pt x="2304256" y="0"/>
                </a:lnTo>
                <a:lnTo>
                  <a:pt x="11785546" y="0"/>
                </a:lnTo>
                <a:lnTo>
                  <a:pt x="11785546" y="2852936"/>
                </a:lnTo>
                <a:lnTo>
                  <a:pt x="11785546" y="6858000"/>
                </a:lnTo>
                <a:lnTo>
                  <a:pt x="1585090" y="6858000"/>
                </a:lnTo>
                <a:lnTo>
                  <a:pt x="1099546" y="6858000"/>
                </a:lnTo>
                <a:lnTo>
                  <a:pt x="1099545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sz="1400" b="1" dirty="0" err="1">
              <a:solidFill>
                <a:schemeClr val="bg1"/>
              </a:solidFill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00" y="1484313"/>
            <a:ext cx="11374560" cy="4897437"/>
          </a:xfrm>
        </p:spPr>
        <p:txBody>
          <a:bodyPr lIns="1512000" tIns="288000" rIns="0" bIns="169276" anchor="t" anchorCtr="0">
            <a:noAutofit/>
          </a:bodyPr>
          <a:lstStyle>
            <a:lvl1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1pPr>
            <a:lvl2pPr marL="719756" indent="-241219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  <a:defRPr sz="1400" b="0" baseline="0">
                <a:solidFill>
                  <a:schemeClr val="tx2"/>
                </a:solidFill>
              </a:defRPr>
            </a:lvl2pPr>
            <a:lvl3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3pPr>
            <a:lvl4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4pPr>
            <a:lvl5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 baseline="0">
                <a:solidFill>
                  <a:schemeClr val="tx2"/>
                </a:solidFill>
              </a:defRPr>
            </a:lvl5pPr>
            <a:lvl6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6pPr>
            <a:lvl7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7pPr>
            <a:lvl8pPr marL="479838" indent="-47983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+mj-lt"/>
              <a:buAutoNum type="arabicPeriod"/>
              <a:defRPr sz="2600" b="0">
                <a:solidFill>
                  <a:schemeClr val="bg2"/>
                </a:solidFill>
              </a:defRPr>
            </a:lvl8pPr>
            <a:lvl9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Unterpunkt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06400" y="404814"/>
            <a:ext cx="7777163" cy="792162"/>
          </a:xfrm>
        </p:spPr>
        <p:txBody>
          <a:bodyPr lIns="1512000"/>
          <a:lstStyle>
            <a:lvl1pPr>
              <a:defRPr sz="52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10017438" y="6864356"/>
            <a:ext cx="1391970" cy="260350"/>
          </a:xfrm>
        </p:spPr>
        <p:txBody>
          <a:bodyPr/>
          <a:lstStyle/>
          <a:p>
            <a:fld id="{0A53F34A-1776-4CF9-A7B7-801786891889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406454" y="6864355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11409406" y="6864354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uppieren 8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14135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Zwischenfolie - Rein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gray">
          <a:xfrm>
            <a:off x="406454" y="0"/>
            <a:ext cx="11785546" cy="6858004"/>
          </a:xfrm>
          <a:custGeom>
            <a:avLst/>
            <a:gdLst/>
            <a:ahLst/>
            <a:cxnLst/>
            <a:rect l="l" t="t" r="r" b="b"/>
            <a:pathLst>
              <a:path w="11785546" h="6858004">
                <a:moveTo>
                  <a:pt x="1204711" y="0"/>
                </a:moveTo>
                <a:lnTo>
                  <a:pt x="1585090" y="0"/>
                </a:lnTo>
                <a:lnTo>
                  <a:pt x="2304256" y="0"/>
                </a:lnTo>
                <a:lnTo>
                  <a:pt x="11785546" y="0"/>
                </a:lnTo>
                <a:lnTo>
                  <a:pt x="11785546" y="2852936"/>
                </a:lnTo>
                <a:lnTo>
                  <a:pt x="11785546" y="6858000"/>
                </a:lnTo>
                <a:lnTo>
                  <a:pt x="1585090" y="6858000"/>
                </a:lnTo>
                <a:lnTo>
                  <a:pt x="1099546" y="6858000"/>
                </a:lnTo>
                <a:lnTo>
                  <a:pt x="1099545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sz="1400" b="1" dirty="0" err="1">
              <a:solidFill>
                <a:schemeClr val="bg1"/>
              </a:solidFill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00" y="1484313"/>
            <a:ext cx="11374560" cy="4897437"/>
          </a:xfrm>
        </p:spPr>
        <p:txBody>
          <a:bodyPr lIns="0" tIns="288000" rIns="0" bIns="169276" anchor="t" anchorCtr="0">
            <a:noAutofit/>
          </a:bodyPr>
          <a:lstStyle>
            <a:lvl1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1pPr>
            <a:lvl2pPr marL="719756" indent="-241219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  <a:defRPr sz="1400" b="0" baseline="0">
                <a:solidFill>
                  <a:schemeClr val="tx2"/>
                </a:solidFill>
              </a:defRPr>
            </a:lvl2pPr>
            <a:lvl3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3pPr>
            <a:lvl4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4pPr>
            <a:lvl5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 baseline="0">
                <a:solidFill>
                  <a:schemeClr val="tx2"/>
                </a:solidFill>
              </a:defRPr>
            </a:lvl5pPr>
            <a:lvl6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6pPr>
            <a:lvl7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7pPr>
            <a:lvl8pPr marL="479838" indent="-47983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+mj-lt"/>
              <a:buAutoNum type="arabicPeriod"/>
              <a:defRPr sz="2600" b="0">
                <a:solidFill>
                  <a:schemeClr val="bg2"/>
                </a:solidFill>
              </a:defRPr>
            </a:lvl8pPr>
            <a:lvl9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Unterpunkt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06400" y="404814"/>
            <a:ext cx="7777163" cy="792162"/>
          </a:xfrm>
        </p:spPr>
        <p:txBody>
          <a:bodyPr lIns="0"/>
          <a:lstStyle>
            <a:lvl1pPr>
              <a:defRPr sz="52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10017438" y="6854831"/>
            <a:ext cx="1391970" cy="260350"/>
          </a:xfrm>
        </p:spPr>
        <p:txBody>
          <a:bodyPr/>
          <a:lstStyle/>
          <a:p>
            <a:fld id="{0A53F34A-1776-4CF9-A7B7-801786891889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406454" y="6854830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11409406" y="6854829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uppieren 8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82021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95775" y="1196975"/>
            <a:ext cx="7485186" cy="5184775"/>
          </a:xfrm>
        </p:spPr>
        <p:txBody>
          <a:bodyPr anchor="ctr"/>
          <a:lstStyle>
            <a:lvl1pPr>
              <a:defRPr sz="52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Kapitelüb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20.06.2024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-1" y="0"/>
            <a:ext cx="4295775" cy="6858000"/>
          </a:xfrm>
          <a:custGeom>
            <a:avLst/>
            <a:gdLst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42957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1149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09592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5775" h="6858000">
                <a:moveTo>
                  <a:pt x="0" y="0"/>
                </a:moveTo>
                <a:lnTo>
                  <a:pt x="4295775" y="0"/>
                </a:lnTo>
                <a:lnTo>
                  <a:pt x="309592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bIns="756000"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</p:spTree>
    <p:extLst>
      <p:ext uri="{BB962C8B-B14F-4D97-AF65-F5344CB8AC3E}">
        <p14:creationId xmlns:p14="http://schemas.microsoft.com/office/powerpoint/2010/main" val="174867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06455" y="1484313"/>
            <a:ext cx="11377558" cy="4897437"/>
          </a:xfrm>
        </p:spPr>
        <p:txBody>
          <a:bodyPr/>
          <a:lstStyle>
            <a:lvl5pPr>
              <a:defRPr/>
            </a:lvl5pPr>
            <a:lvl6pPr marL="239698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54" y="0"/>
            <a:ext cx="7777162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06454" y="404814"/>
            <a:ext cx="7777109" cy="79216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971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2 Inhalt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E243A558-6A64-40D2-ABA5-CC0024ABAEAB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22"/>
          </p:nvPr>
        </p:nvSpPr>
        <p:spPr bwMode="gray">
          <a:xfrm>
            <a:off x="406453" y="1484312"/>
            <a:ext cx="5545085" cy="489743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33"/>
          </p:nvPr>
        </p:nvSpPr>
        <p:spPr bwMode="gray">
          <a:xfrm>
            <a:off x="6240463" y="1484312"/>
            <a:ext cx="5543550" cy="489743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837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3564" y="1483200"/>
            <a:ext cx="3598100" cy="489855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 bwMode="gray">
          <a:xfrm>
            <a:off x="406453" y="1484313"/>
            <a:ext cx="7489214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85F3669E-AC4A-4E81-AD65-5336D3B883ED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410373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873349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424" imgH="424" progId="TCLayout.ActiveDocument.1">
                  <p:embed/>
                </p:oleObj>
              </mc:Choice>
              <mc:Fallback>
                <p:oleObj name="think-cell Folie" r:id="rId21" imgW="424" imgH="42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1032" name="Gleichschenkliges Dreieck 1031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8" name="Gleichschenkliges Dreieck 67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0" name="Gleichschenkliges Dreieck 69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1" name="Gleichschenkliges Dreieck 70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2" name="Gleichschenkliges Dreieck 71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3" name="Gleichschenkliges Dreieck 72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4" name="Gleichschenkliges Dreieck 73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5" name="Gleichschenkliges Dreieck 74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7" name="Gleichschenkliges Dreieck 76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Gleichschenkliges Dreieck 77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9" name="Gleichschenkliges Dreieck 78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Gleichschenkliges Dreieck 79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Gleichschenkliges Dreieck 80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2" name="Gleichschenkliges Dreieck 81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3" name="Gleichschenkliges Dreieck 82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83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Gleichschenkliges Dreieck 86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3" name="Gleichschenkliges Dreieck 92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Gleichschenkliges Dreieck 93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5" name="Gleichschenkliges Dreieck 94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6" name="Gleichschenkliges Dreieck 95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8" name="Gleichschenkliges Dreieck 97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56" name="Gleichschenkliges Dreieck 55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5" name="Gleichschenkliges Dreieck 84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6" name="Gleichschenkliges Dreieck 85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8" name="Gleichschenkliges Dreieck 87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Gleichschenkliges Dreieck 89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1" name="Gleichschenkliges Dreieck 90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91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6454" y="404814"/>
            <a:ext cx="7777109" cy="792162"/>
          </a:xfrm>
          <a:prstGeom prst="rect">
            <a:avLst/>
          </a:prstGeom>
        </p:spPr>
        <p:txBody>
          <a:bodyPr vert="horz" lIns="0" tIns="71975" rIns="0" bIns="0" rtlCol="0" anchor="t">
            <a:noAutofit/>
          </a:bodyPr>
          <a:lstStyle/>
          <a:p>
            <a:pPr lvl="0"/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06454" y="1484384"/>
            <a:ext cx="11377559" cy="48783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0017438" y="6597654"/>
            <a:ext cx="1391970" cy="260350"/>
          </a:xfrm>
          <a:prstGeom prst="rect">
            <a:avLst/>
          </a:prstGeom>
        </p:spPr>
        <p:txBody>
          <a:bodyPr vert="horz" lIns="0" tIns="0" rIns="108000" bIns="0" rtlCol="0" anchor="t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211F924D-D0F0-48B3-AB8A-6E39FBD75350}" type="datetime1">
              <a:rPr lang="de-DE" smtClean="0"/>
              <a:pPr/>
              <a:t>20.06.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6454" y="6597653"/>
            <a:ext cx="7489213" cy="2603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 cap="none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409406" y="6597652"/>
            <a:ext cx="371554" cy="2603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2066355A-084C-D24E-9AD2-7E4FC41EA627}" type="slidenum">
              <a:rPr lang="de-DE" noProof="0" smtClean="0"/>
              <a:pPr/>
              <a:t>‹#›</a:t>
            </a:fld>
            <a:endParaRPr lang="de-DE" noProof="0"/>
          </a:p>
        </p:txBody>
      </p:sp>
      <p:grpSp>
        <p:nvGrpSpPr>
          <p:cNvPr id="120" name="Gruppieren 119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21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2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3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5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6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7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8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9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0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1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2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3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4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5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6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7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8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9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0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1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2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3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62" name="TextBox 61"/>
          <p:cNvSpPr txBox="1"/>
          <p:nvPr userDrawn="1"/>
        </p:nvSpPr>
        <p:spPr bwMode="gray">
          <a:xfrm>
            <a:off x="11353268" y="6597352"/>
            <a:ext cx="72017" cy="2606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ctr" defTabSz="609393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noProof="0" dirty="0">
                <a:solidFill>
                  <a:schemeClr val="tx2"/>
                </a:solidFill>
              </a:rPr>
              <a:t>l</a:t>
            </a:r>
          </a:p>
          <a:p>
            <a:pPr marL="0" indent="0" algn="ctr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0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3" r:id="rId1"/>
    <p:sldLayoutId id="2147493458" r:id="rId2"/>
    <p:sldLayoutId id="2147493481" r:id="rId3"/>
    <p:sldLayoutId id="2147493484" r:id="rId4"/>
    <p:sldLayoutId id="2147493486" r:id="rId5"/>
    <p:sldLayoutId id="2147493485" r:id="rId6"/>
    <p:sldLayoutId id="2147493462" r:id="rId7"/>
    <p:sldLayoutId id="2147493475" r:id="rId8"/>
    <p:sldLayoutId id="2147493476" r:id="rId9"/>
    <p:sldLayoutId id="2147493477" r:id="rId10"/>
    <p:sldLayoutId id="2147493478" r:id="rId11"/>
    <p:sldLayoutId id="2147493487" r:id="rId12"/>
    <p:sldLayoutId id="2147493479" r:id="rId13"/>
    <p:sldLayoutId id="2147493465" r:id="rId14"/>
    <p:sldLayoutId id="2147493488" r:id="rId15"/>
    <p:sldLayoutId id="2147493457" r:id="rId16"/>
    <p:sldLayoutId id="2147493483" r:id="rId17"/>
    <p:sldLayoutId id="2147493464" r:id="rId18"/>
  </p:sldLayoutIdLst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  <p:hf hdr="0"/>
  <p:txStyles>
    <p:titleStyle>
      <a:lvl1pPr algn="l" defTabSz="609393" rtl="0" eaLnBrk="1" latinLnBrk="0" hangingPunct="1">
        <a:lnSpc>
          <a:spcPct val="85000"/>
        </a:lnSpc>
        <a:spcBef>
          <a:spcPct val="0"/>
        </a:spcBef>
        <a:buNone/>
        <a:defRPr sz="2000" kern="1200">
          <a:solidFill>
            <a:schemeClr val="accent1"/>
          </a:solidFill>
          <a:latin typeface="Segoe UI"/>
          <a:ea typeface="+mj-ea"/>
          <a:cs typeface="+mj-cs"/>
        </a:defRPr>
      </a:lvl1pPr>
      <a:lvl2pPr algn="l" eaLnBrk="1" hangingPunct="1">
        <a:lnSpc>
          <a:spcPct val="85000"/>
        </a:lnSpc>
        <a:defRPr sz="2100" b="0">
          <a:solidFill>
            <a:schemeClr val="accent1"/>
          </a:solidFill>
          <a:latin typeface="+mj-lt"/>
        </a:defRPr>
      </a:lvl2pPr>
      <a:lvl3pPr algn="l" eaLnBrk="1" hangingPunct="1">
        <a:lnSpc>
          <a:spcPct val="85000"/>
        </a:lnSpc>
        <a:defRPr sz="2100">
          <a:solidFill>
            <a:schemeClr val="accent1"/>
          </a:solidFill>
          <a:latin typeface="+mj-lt"/>
        </a:defRPr>
      </a:lvl3pPr>
    </p:titleStyle>
    <p:bodyStyle>
      <a:lvl1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SzPct val="100000"/>
        <a:buFont typeface="Wingdings" charset="2"/>
        <a:buNone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1pPr>
      <a:lvl2pPr marL="237600" indent="-23760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400" b="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2pPr>
      <a:lvl3pPr marL="478800" indent="-239102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3pPr>
      <a:lvl4pPr marL="720000" indent="-239102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Symbol" panose="05050102010706020507" pitchFamily="18" charset="2"/>
        <a:buChar char="-"/>
        <a:defRPr sz="12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4pPr>
      <a:lvl5pPr marL="237600" indent="-23760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SzPct val="90000"/>
        <a:buFont typeface="+mj-lt"/>
        <a:buAutoNum type="arabicPeriod"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5pPr>
      <a:lvl6pPr marL="478800" indent="-239102" algn="l" defTabSz="609393" rtl="0" eaLnBrk="1" latinLnBrk="0" hangingPunct="1">
        <a:lnSpc>
          <a:spcPct val="80000"/>
        </a:lnSpc>
        <a:spcBef>
          <a:spcPts val="800"/>
        </a:spcBef>
        <a:spcAft>
          <a:spcPts val="800"/>
        </a:spcAft>
        <a:buClr>
          <a:schemeClr val="accent1"/>
        </a:buClr>
        <a:buSzPct val="100000"/>
        <a:buFont typeface="+mj-lt"/>
        <a:buAutoNum type="alphaLcParenR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+mj-lt"/>
        <a:buNone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Font typeface="Wingdings" pitchFamily="2" charset="2"/>
        <a:buNone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Font typeface="Wingdings" pitchFamily="2" charset="2"/>
        <a:buNone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93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786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80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572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964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357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752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144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2525" userDrawn="1">
          <p15:clr>
            <a:srgbClr val="F26B43"/>
          </p15:clr>
        </p15:guide>
        <p15:guide id="4" pos="2706" userDrawn="1">
          <p15:clr>
            <a:srgbClr val="F26B43"/>
          </p15:clr>
        </p15:guide>
        <p15:guide id="5" pos="3749" userDrawn="1">
          <p15:clr>
            <a:srgbClr val="F26B43"/>
          </p15:clr>
        </p15:guide>
        <p15:guide id="6" pos="3931" userDrawn="1">
          <p15:clr>
            <a:srgbClr val="F26B43"/>
          </p15:clr>
        </p15:guide>
        <p15:guide id="7" pos="4974" userDrawn="1">
          <p15:clr>
            <a:srgbClr val="F26B43"/>
          </p15:clr>
        </p15:guide>
        <p15:guide id="8" pos="5155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754" userDrawn="1">
          <p15:clr>
            <a:srgbClr val="F26B43"/>
          </p15:clr>
        </p15:guide>
        <p15:guide id="11" orient="horz" pos="935" userDrawn="1">
          <p15:clr>
            <a:srgbClr val="F26B43"/>
          </p15:clr>
        </p15:guide>
        <p15:guide id="12" orient="horz" pos="2387" userDrawn="1">
          <p15:clr>
            <a:srgbClr val="F26B43"/>
          </p15:clr>
        </p15:guide>
        <p15:guide id="13" orient="horz" pos="2568" userDrawn="1">
          <p15:clr>
            <a:srgbClr val="F26B43"/>
          </p15:clr>
        </p15:guide>
        <p15:guide id="14" orient="horz" pos="4020" userDrawn="1">
          <p15:clr>
            <a:srgbClr val="F26B43"/>
          </p15:clr>
        </p15:guide>
        <p15:guide id="15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3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05C9169-40FC-F3BC-D747-50E8810F0BA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ACA2F0-82F4-719F-4C71-0834692811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556D2-8266-F3A5-A075-77C48725E7D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81FDB94-49DE-65CD-47A9-DBBE7755DAA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D51B129-2092-E93A-846F-E85D17427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2000" b="1" dirty="0"/>
              <a:t>Cost-Benefit </a:t>
            </a:r>
            <a:r>
              <a:rPr lang="en" b="1" dirty="0"/>
              <a:t>A</a:t>
            </a:r>
            <a:r>
              <a:rPr lang="en" sz="2000" b="1" dirty="0"/>
              <a:t>nalysis</a:t>
            </a:r>
            <a:endParaRPr lang="en-DE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15FECD96-6805-9F26-9C61-9840D1E3BB2C}"/>
              </a:ext>
            </a:extLst>
          </p:cNvPr>
          <p:cNvSpPr txBox="1">
            <a:spLocks/>
          </p:cNvSpPr>
          <p:nvPr/>
        </p:nvSpPr>
        <p:spPr bwMode="gray">
          <a:xfrm>
            <a:off x="406454" y="1057092"/>
            <a:ext cx="6193602" cy="56610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Reserved Instances vs On-demand pricing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On-demand Pricing: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Pay-as-you-go model with no upfront cost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Flexible but can be more expensive for long-term usag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Reserved Instances: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Commit to a one- or three-year term for significant discount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Ideal for predictable workloads and long-term saving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Savings Example:</a:t>
            </a:r>
            <a:endParaRPr lang="en-GB" sz="11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100" dirty="0"/>
              <a:t>Up to 75% discount compared to on-demand pricing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Cost Implications of Node Types:</a:t>
            </a:r>
            <a:endParaRPr lang="en-GB" sz="11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100" b="1" dirty="0"/>
              <a:t>Dense Compute (DC):</a:t>
            </a:r>
            <a:r>
              <a:rPr lang="en-GB" sz="1100" dirty="0"/>
              <a:t> Higher performance, suitable for intensive queri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100" b="1" dirty="0"/>
              <a:t>Dense Storage (DS):</a:t>
            </a:r>
            <a:r>
              <a:rPr lang="en-GB" sz="1100" dirty="0"/>
              <a:t> Larger storage capacity at a lower cost per GB.</a:t>
            </a:r>
            <a:endParaRPr lang="en-GB" sz="1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Using Concurrency Scaling to Manage Peak Load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Purpose: </a:t>
            </a:r>
            <a:r>
              <a:rPr lang="en-GB" sz="1100" dirty="0"/>
              <a:t>Adds capacity during peak load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Features: </a:t>
            </a:r>
            <a:r>
              <a:rPr lang="en-GB" sz="1100" dirty="0"/>
              <a:t>Consistent performance, pay for extra capacity only when used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Benefits: </a:t>
            </a:r>
            <a:r>
              <a:rPr lang="en-GB" sz="1100" dirty="0"/>
              <a:t>Ideal for variable query volume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Redshift Query/Usage Report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Purpose:</a:t>
            </a:r>
            <a:r>
              <a:rPr lang="en-GB" sz="1100" dirty="0"/>
              <a:t> Insights into query performance and usag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Features:</a:t>
            </a:r>
            <a:r>
              <a:rPr lang="en-GB" sz="1100" dirty="0"/>
              <a:t> Metrics on execution times, resource utilizatio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Benefits:</a:t>
            </a:r>
            <a:r>
              <a:rPr lang="en-GB" sz="1100" dirty="0"/>
              <a:t> Optimize performance and resource usage.</a:t>
            </a:r>
            <a:endParaRPr lang="en-GB" sz="1000" b="1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A614E5-1CF2-5545-EFE6-5F5E92C66DD1}"/>
              </a:ext>
            </a:extLst>
          </p:cNvPr>
          <p:cNvSpPr txBox="1">
            <a:spLocks/>
          </p:cNvSpPr>
          <p:nvPr/>
        </p:nvSpPr>
        <p:spPr bwMode="gray">
          <a:xfrm>
            <a:off x="6600055" y="1057089"/>
            <a:ext cx="5453939" cy="56610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/>
              <a:t>Cost Components:</a:t>
            </a:r>
            <a:endParaRPr lang="en-GB" sz="12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Compute Nodes:</a:t>
            </a:r>
            <a:r>
              <a:rPr lang="en-GB" sz="1100" dirty="0"/>
              <a:t> Cost based on node type (e.g., dc2.large, ds2.xlarge)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Storage:</a:t>
            </a:r>
            <a:r>
              <a:rPr lang="en-GB" sz="1100" dirty="0"/>
              <a:t> Cost per GB of storage provisioned in Redshift cluster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Data Transfer:</a:t>
            </a:r>
            <a:r>
              <a:rPr lang="en-GB" sz="1100" dirty="0"/>
              <a:t> Costs associated with data ingress and egress from Redshift.</a:t>
            </a:r>
            <a:endParaRPr lang="en-GB" sz="1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Cost Optimization Strategies:</a:t>
            </a:r>
            <a:endParaRPr lang="en-GB" sz="12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Right-sizing:</a:t>
            </a:r>
            <a:r>
              <a:rPr lang="en-GB" sz="1100" dirty="0"/>
              <a:t> Selecting appropriate node types based on workload and performance requirement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Auto-scaling:</a:t>
            </a:r>
            <a:r>
              <a:rPr lang="en-GB" sz="1100" dirty="0"/>
              <a:t> Dynamically adjusting compute capacity based on workload demand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Data Compression:</a:t>
            </a:r>
            <a:r>
              <a:rPr lang="en-GB" sz="1100" dirty="0"/>
              <a:t> Reducing storage costs through efficient data compression techniques.</a:t>
            </a:r>
            <a:endParaRPr lang="en-GB" sz="1200" b="1" dirty="0"/>
          </a:p>
          <a:p>
            <a:pPr lvl="1"/>
            <a:r>
              <a:rPr lang="en-GB" sz="1200" b="1" dirty="0"/>
              <a:t>Reduced Infrastructure Costs:</a:t>
            </a:r>
            <a:endParaRPr lang="en-GB" sz="12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Reduction in physical server costs, energy usage, and required floor spac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Pay-as-you-go pricing model based on actual usage and storage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Improved ROI (Return on Investment):</a:t>
            </a:r>
            <a:endParaRPr lang="en-GB" sz="12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Faster time-to-insight with efficient data processing and query performanc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Decreased need for manual interventions and IT support task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Enables cost-effective analytics and data-driven decision-making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GB" sz="1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100" b="1" dirty="0"/>
              <a:t>Performance enhancements</a:t>
            </a:r>
            <a:r>
              <a:rPr lang="en-GB" sz="1100" dirty="0"/>
              <a:t> in Redshift directly translate to improved operational efficiency and customer satisfaction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100" b="1" dirty="0"/>
              <a:t>ROI from Redshift</a:t>
            </a:r>
            <a:r>
              <a:rPr lang="en-GB" sz="1100" dirty="0"/>
              <a:t> is realized through both tangible cost reductions and intangible benefits that drive business growth and competitivenes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AA9F41-6617-D471-B713-EB2D765ABCD7}"/>
              </a:ext>
            </a:extLst>
          </p:cNvPr>
          <p:cNvSpPr txBox="1"/>
          <p:nvPr/>
        </p:nvSpPr>
        <p:spPr bwMode="gray">
          <a:xfrm>
            <a:off x="1175657" y="59131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83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AAFF0B-6157-7781-B63D-47F20BA0DF7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8246" y="1448595"/>
            <a:ext cx="11377558" cy="48974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trategic Importance of Redshift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Scalable Solutions:</a:t>
            </a:r>
            <a:r>
              <a:rPr lang="en-GB" dirty="0"/>
              <a:t> Amazon Redshift supports scalable, efficient, and secure cloud data warehousing that's essential for modern data-driven strategies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Integration and Scalability:</a:t>
            </a:r>
            <a:r>
              <a:rPr lang="en-GB" dirty="0"/>
              <a:t> With seamless integration capabilities with other AWS services, Redshift enables businesses to dynamically scale and adapt to changing data needs while maintaining operational flexibi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cap of Main Topics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Performance Optimization:</a:t>
            </a:r>
            <a:r>
              <a:rPr lang="en-GB" dirty="0"/>
              <a:t> We discussed the importance of configuring your Redshift environment to optimize performance, including right-sizing clusters, choosing effective distribution styles and sort keys, and tuning queries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Security Measures:</a:t>
            </a:r>
            <a:r>
              <a:rPr lang="en-GB" dirty="0"/>
              <a:t> We highlighted robust security practices for Redshift, emphasizing encryption, comprehensive access controls, and continuous monitoring to safeguard your data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Cost Efficiency:</a:t>
            </a:r>
            <a:r>
              <a:rPr lang="en-GB" dirty="0"/>
              <a:t> We explored various strategies to manage and optimize costs, such as adopting reserved instances, efficiently managing workloads, and using tools like AWS Cost Explorer for regular financial oversigh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ext Steps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Apply Best Practices:</a:t>
            </a:r>
            <a:r>
              <a:rPr lang="en-GB" dirty="0"/>
              <a:t> Encourage your team to implement the best practices discussed today to optimize your Redshift environment for better performance and security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Leverage Redshift's Capabilities:</a:t>
            </a:r>
            <a:r>
              <a:rPr lang="en-GB" dirty="0"/>
              <a:t> Utilize the full potential of Redshift to improve your business's data analysis and intelligence capabilities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Continuous Improvement:</a:t>
            </a:r>
            <a:r>
              <a:rPr lang="en-GB" dirty="0"/>
              <a:t> Keep evolving your data strategies by staying updated with the latest in cloud data warehousing technology and practices.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23AF6E-F618-2620-C702-94BF055263CF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8FB455-EA77-8ADF-7DED-5203B566EE7A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A47977-5E3D-8972-8ED4-3D2CD801FAD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3F30EF-8C54-B5BE-2DB1-1A1B56E786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7735F80-41B6-FE48-0307-11312F7A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2000" b="1" dirty="0"/>
              <a:t>Conclusion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5940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eeyush Singh | </a:t>
            </a:r>
            <a:r>
              <a:rPr lang="de-DE" dirty="0" err="1"/>
              <a:t>Shramish</a:t>
            </a:r>
            <a:r>
              <a:rPr lang="de-DE" dirty="0"/>
              <a:t> </a:t>
            </a:r>
            <a:r>
              <a:rPr lang="de-DE" dirty="0" err="1"/>
              <a:t>Kafle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C3902-11E9-4604-A25A-87DD319CFE3C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307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96D156A2-8FD4-4FDF-B113-DBCB20D414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eeyush Singh | </a:t>
            </a:r>
            <a:r>
              <a:rPr lang="de-DE" dirty="0" err="1"/>
              <a:t>Shramish</a:t>
            </a:r>
            <a:r>
              <a:rPr lang="de-DE" dirty="0"/>
              <a:t> </a:t>
            </a:r>
            <a:r>
              <a:rPr lang="de-DE" dirty="0" err="1"/>
              <a:t>Kafle</a:t>
            </a:r>
            <a:endParaRPr lang="de-DE" dirty="0"/>
          </a:p>
          <a:p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DF064-C1FF-4E75-B351-6E9EC2C551E0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79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Erste Textebene für Fließtext: Segoe UI, 14pt</a:t>
            </a:r>
          </a:p>
          <a:p>
            <a:pPr lvl="1"/>
            <a:r>
              <a:rPr lang="de-DE" dirty="0"/>
              <a:t>Zweite Textebene für </a:t>
            </a:r>
            <a:r>
              <a:rPr lang="de-DE" dirty="0" err="1"/>
              <a:t>Bulletpoints</a:t>
            </a:r>
            <a:r>
              <a:rPr lang="de-DE" dirty="0"/>
              <a:t>: Segoe UI, 14pt</a:t>
            </a:r>
          </a:p>
          <a:p>
            <a:pPr lvl="2"/>
            <a:r>
              <a:rPr lang="de-DE" dirty="0"/>
              <a:t>Dritte Textebene für </a:t>
            </a:r>
            <a:r>
              <a:rPr lang="de-DE" dirty="0" err="1"/>
              <a:t>Bulletpoints</a:t>
            </a:r>
            <a:r>
              <a:rPr lang="de-DE" dirty="0"/>
              <a:t> zweiter ebene: Segoe UI, 14pt</a:t>
            </a:r>
          </a:p>
          <a:p>
            <a:pPr lvl="3"/>
            <a:r>
              <a:rPr lang="de-DE" dirty="0"/>
              <a:t>Vierte Textebene für </a:t>
            </a:r>
            <a:r>
              <a:rPr lang="de-DE" dirty="0" err="1"/>
              <a:t>Bulletpoints</a:t>
            </a:r>
            <a:r>
              <a:rPr lang="de-DE" dirty="0"/>
              <a:t> dritter Ebene: Segoe UI, 12pt</a:t>
            </a:r>
          </a:p>
          <a:p>
            <a:pPr lvl="4"/>
            <a:r>
              <a:rPr lang="de-DE" dirty="0"/>
              <a:t>Fünfte Textebene für Aufzählungen: Segoe UI, 14pt</a:t>
            </a:r>
          </a:p>
          <a:p>
            <a:pPr lvl="5"/>
            <a:r>
              <a:rPr lang="de-DE" dirty="0"/>
              <a:t>Sechste Textebene für Aufzählungen in zweiter Ebene: Segoe UI, 14pt</a:t>
            </a:r>
          </a:p>
          <a:p>
            <a:pPr lvl="7"/>
            <a:r>
              <a:rPr lang="de-DE" dirty="0"/>
              <a:t>Siebte Textebene für Quellenangaben/Anmerkungen: Segoe UI, 12pt, hellgrau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de-DE"/>
              <a:t>Erklärung der Textebenen, </a:t>
            </a:r>
            <a:br>
              <a:rPr lang="de-DE"/>
            </a:br>
            <a:r>
              <a:rPr lang="de-DE"/>
              <a:t>Segoe UI, 20pt, blau</a:t>
            </a:r>
            <a:endParaRPr lang="de-DE" dirty="0"/>
          </a:p>
        </p:txBody>
      </p:sp>
      <p:sp>
        <p:nvSpPr>
          <p:cNvPr id="54" name="Datumsplatzhalter 53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C058629E-FACD-49DF-B267-1FCF3764FFF9}" type="datetime1">
              <a:rPr lang="de-DE" smtClean="0"/>
              <a:pPr/>
              <a:t>20.06.2024</a:t>
            </a:fld>
            <a:endParaRPr lang="en-US" dirty="0"/>
          </a:p>
        </p:txBody>
      </p:sp>
      <p:sp>
        <p:nvSpPr>
          <p:cNvPr id="55" name="Fußzeilenplatzhalter 5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6" name="Foliennummernplatzhalter 5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/>
              <a:t>Kapitelüberschrift, Segoe UI, 12pt, grau</a:t>
            </a:r>
            <a:endParaRPr lang="de-DE" dirty="0"/>
          </a:p>
        </p:txBody>
      </p:sp>
      <p:sp>
        <p:nvSpPr>
          <p:cNvPr id="12" name="Textplatzhalter 19"/>
          <p:cNvSpPr txBox="1">
            <a:spLocks/>
          </p:cNvSpPr>
          <p:nvPr/>
        </p:nvSpPr>
        <p:spPr bwMode="gray">
          <a:xfrm>
            <a:off x="407194" y="4047359"/>
            <a:ext cx="3600450" cy="1824071"/>
          </a:xfrm>
          <a:prstGeom prst="rect">
            <a:avLst/>
          </a:prstGeom>
        </p:spPr>
        <p:txBody>
          <a:bodyPr lIns="0" tIns="0" rIns="0" bIns="0"/>
          <a:lstStyle>
            <a:lvl1pPr algn="l" defTabSz="936625" rtl="0" eaLnBrk="1" fontAlgn="base" hangingPunct="1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</a:defRPr>
            </a:lvl2pPr>
            <a:lvl3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►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3pPr>
            <a:lvl4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●"/>
              <a:defRPr sz="1400">
                <a:solidFill>
                  <a:schemeClr val="tx1"/>
                </a:solidFill>
                <a:latin typeface="+mn-lt"/>
                <a:sym typeface="Wingdings" pitchFamily="2" charset="2"/>
              </a:defRPr>
            </a:lvl4pPr>
            <a:lvl5pPr marL="628650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6pPr>
            <a:lvl7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</a:defRPr>
            </a:lvl7pPr>
            <a:lvl8pPr marL="628650" indent="-177800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>
                <a:solidFill>
                  <a:schemeClr val="tx1"/>
                </a:solidFill>
                <a:latin typeface="+mn-lt"/>
              </a:defRPr>
            </a:lvl8pPr>
            <a:lvl9pPr marL="0" indent="0" algn="l" defTabSz="936625" rtl="0" eaLnBrk="1" fontAlgn="base" hangingPunct="1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sz="1000">
                <a:solidFill>
                  <a:schemeClr val="accent6"/>
                </a:solidFill>
                <a:latin typeface="+mn-lt"/>
              </a:defRPr>
            </a:lvl9pPr>
          </a:lstStyle>
          <a:p>
            <a:pPr lvl="1"/>
            <a:r>
              <a:rPr lang="de-DE" noProof="1">
                <a:solidFill>
                  <a:schemeClr val="accent1"/>
                </a:solidFill>
              </a:rPr>
              <a:t>Information</a:t>
            </a:r>
            <a:br>
              <a:rPr lang="de-DE" cap="all" noProof="1">
                <a:solidFill>
                  <a:schemeClr val="tx2"/>
                </a:solidFill>
              </a:rPr>
            </a:br>
            <a:r>
              <a:rPr lang="de-DE" b="0" kern="0" noProof="1">
                <a:solidFill>
                  <a:schemeClr val="tx2"/>
                </a:solidFill>
              </a:rPr>
              <a:t>Um die Textebenen zu nutzen, verwenden Sie die „Listenebene erhöhen“ oder „Listenebene verringern“ Schaltflächen in der Startleiste:</a:t>
            </a:r>
          </a:p>
          <a:p>
            <a:r>
              <a:rPr lang="de-DE" kern="0" noProof="1">
                <a:solidFill>
                  <a:schemeClr val="tx2"/>
                </a:solidFill>
              </a:rPr>
              <a:t>oder Ihre Tastatur:</a:t>
            </a:r>
            <a:br>
              <a:rPr lang="de-DE" kern="0" noProof="1">
                <a:solidFill>
                  <a:schemeClr val="tx2"/>
                </a:solidFill>
              </a:rPr>
            </a:br>
            <a:r>
              <a:rPr lang="de-DE" kern="0" noProof="1">
                <a:solidFill>
                  <a:schemeClr val="tx2"/>
                </a:solidFill>
              </a:rPr>
              <a:t>ALT+Shift+Links oder Rechts.</a:t>
            </a:r>
          </a:p>
        </p:txBody>
      </p:sp>
      <p:pic>
        <p:nvPicPr>
          <p:cNvPr id="13" name="Picture 1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677092" y="5073610"/>
            <a:ext cx="522703" cy="239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platzhalter 19"/>
          <p:cNvSpPr txBox="1">
            <a:spLocks/>
          </p:cNvSpPr>
          <p:nvPr/>
        </p:nvSpPr>
        <p:spPr bwMode="gray">
          <a:xfrm>
            <a:off x="4294982" y="4047359"/>
            <a:ext cx="3600450" cy="1824071"/>
          </a:xfrm>
          <a:prstGeom prst="rect">
            <a:avLst/>
          </a:prstGeom>
        </p:spPr>
        <p:txBody>
          <a:bodyPr lIns="0" tIns="0" rIns="0" bIns="0"/>
          <a:lstStyle>
            <a:lvl1pPr algn="l" defTabSz="936625" rtl="0" eaLnBrk="1" fontAlgn="base" hangingPunct="1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</a:defRPr>
            </a:lvl2pPr>
            <a:lvl3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►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3pPr>
            <a:lvl4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●"/>
              <a:defRPr sz="1400">
                <a:solidFill>
                  <a:schemeClr val="tx1"/>
                </a:solidFill>
                <a:latin typeface="+mn-lt"/>
                <a:sym typeface="Wingdings" pitchFamily="2" charset="2"/>
              </a:defRPr>
            </a:lvl4pPr>
            <a:lvl5pPr marL="628650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6pPr>
            <a:lvl7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</a:defRPr>
            </a:lvl7pPr>
            <a:lvl8pPr marL="628650" indent="-177800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>
                <a:solidFill>
                  <a:schemeClr val="tx1"/>
                </a:solidFill>
                <a:latin typeface="+mn-lt"/>
              </a:defRPr>
            </a:lvl8pPr>
            <a:lvl9pPr marL="0" indent="0" algn="l" defTabSz="936625" rtl="0" eaLnBrk="1" fontAlgn="base" hangingPunct="1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sz="1000">
                <a:solidFill>
                  <a:schemeClr val="accent6"/>
                </a:solidFill>
                <a:latin typeface="+mn-lt"/>
              </a:defRPr>
            </a:lvl9pPr>
          </a:lstStyle>
          <a:p>
            <a:pPr lvl="1"/>
            <a:r>
              <a:rPr lang="de-DE" noProof="1">
                <a:solidFill>
                  <a:schemeClr val="accent1"/>
                </a:solidFill>
              </a:rPr>
              <a:t>Achtung</a:t>
            </a:r>
            <a:br>
              <a:rPr lang="de-DE" cap="all" noProof="1">
                <a:solidFill>
                  <a:schemeClr val="tx2"/>
                </a:solidFill>
              </a:rPr>
            </a:br>
            <a:r>
              <a:rPr lang="de-DE" b="0" kern="0" noProof="1">
                <a:solidFill>
                  <a:schemeClr val="tx2"/>
                </a:solidFill>
              </a:rPr>
              <a:t>Um ein Aufzählungszeichen zu generieren, verwenden Sie bitte ausschließlich die vordefinierten Listenebenen und kreieren Sie diese nicht manuell über die Symbolleiste.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407195" y="3951344"/>
            <a:ext cx="8638869" cy="0"/>
          </a:xfrm>
          <a:prstGeom prst="line">
            <a:avLst/>
          </a:prstGeom>
          <a:ln w="9525">
            <a:solidFill>
              <a:schemeClr val="bg2"/>
            </a:solidFill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311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406401" y="1484313"/>
            <a:ext cx="3598864" cy="21605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66" tIns="119960" rIns="95966" bIns="959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b="1" u="sng" dirty="0" err="1">
              <a:solidFill>
                <a:schemeClr val="bg1"/>
              </a:solidFill>
            </a:endParaRPr>
          </a:p>
        </p:txBody>
      </p:sp>
      <p:sp>
        <p:nvSpPr>
          <p:cNvPr id="51" name="Textplatzhalter 1027"/>
          <p:cNvSpPr>
            <a:spLocks noGrp="1"/>
          </p:cNvSpPr>
          <p:nvPr>
            <p:ph type="body" sz="quarter" idx="22"/>
          </p:nvPr>
        </p:nvSpPr>
        <p:spPr>
          <a:xfrm>
            <a:off x="407987" y="3933825"/>
            <a:ext cx="3600451" cy="2159000"/>
          </a:xfrm>
        </p:spPr>
        <p:txBody>
          <a:bodyPr/>
          <a:lstStyle/>
          <a:p>
            <a:r>
              <a:rPr lang="de-DE" b="1" dirty="0">
                <a:solidFill>
                  <a:schemeClr val="accent1"/>
                </a:solidFill>
              </a:rPr>
              <a:t>Layouts</a:t>
            </a:r>
          </a:p>
          <a:p>
            <a:r>
              <a:rPr lang="de-DE" dirty="0"/>
              <a:t>Sie können zwischen 18 </a:t>
            </a:r>
            <a:br>
              <a:rPr lang="de-DE" dirty="0"/>
            </a:br>
            <a:r>
              <a:rPr lang="de-DE" dirty="0"/>
              <a:t>verschiedenen Layouts wählen.</a:t>
            </a:r>
          </a:p>
          <a:p>
            <a:r>
              <a:rPr lang="de-DE" dirty="0"/>
              <a:t>Zum Ändern gehen Sie auf </a:t>
            </a:r>
            <a:br>
              <a:rPr lang="de-DE" dirty="0"/>
            </a:br>
            <a:r>
              <a:rPr lang="de-DE" dirty="0"/>
              <a:t>Start &gt; Layout &gt; und wählen </a:t>
            </a:r>
            <a:br>
              <a:rPr lang="de-DE" dirty="0"/>
            </a:br>
            <a:r>
              <a:rPr lang="de-DE" dirty="0"/>
              <a:t>das gewünschte aus.</a:t>
            </a:r>
          </a:p>
          <a:p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de-DE"/>
              <a:t>Erklärung </a:t>
            </a:r>
            <a:br>
              <a:rPr lang="de-DE"/>
            </a:br>
            <a:r>
              <a:rPr lang="de-DE"/>
              <a:t>der Layouts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B4F5383-CA52-4F6E-85CA-80EDFF909120}" type="datetime1">
              <a:rPr lang="de-DE" smtClean="0"/>
              <a:pPr/>
              <a:t>20.06.2024</a:t>
            </a:fld>
            <a:endParaRPr lang="en-US" dirty="0"/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38" name="Foliennummernplatzhalter 3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029" name="Textplatzhalter 1028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/>
              <a:t>Erklärungsfolien</a:t>
            </a:r>
            <a:endParaRPr lang="de-DE" dirty="0"/>
          </a:p>
        </p:txBody>
      </p:sp>
      <p:sp>
        <p:nvSpPr>
          <p:cNvPr id="21" name="Textplatzhalter 19"/>
          <p:cNvSpPr txBox="1">
            <a:spLocks/>
          </p:cNvSpPr>
          <p:nvPr/>
        </p:nvSpPr>
        <p:spPr bwMode="gray">
          <a:xfrm>
            <a:off x="4295775" y="3932237"/>
            <a:ext cx="3599658" cy="2160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b="1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180975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360000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7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54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lphaLcParenR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None/>
              <a:defRPr sz="11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>
                <a:solidFill>
                  <a:schemeClr val="accent1"/>
                </a:solidFill>
              </a:rPr>
              <a:t>Kopf und Fußzeile</a:t>
            </a:r>
          </a:p>
          <a:p>
            <a:r>
              <a:rPr lang="de-DE" sz="1400" dirty="0">
                <a:solidFill>
                  <a:schemeClr val="tx2"/>
                </a:solidFill>
              </a:rPr>
              <a:t>Zum Ändern der Fußzeile: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b="1" dirty="0">
                <a:solidFill>
                  <a:schemeClr val="tx2"/>
                </a:solidFill>
              </a:rPr>
              <a:t>Einfügen &gt; Kopf- und Fußzeile </a:t>
            </a:r>
          </a:p>
        </p:txBody>
      </p:sp>
      <p:sp>
        <p:nvSpPr>
          <p:cNvPr id="22" name="Textplatzhalter 19"/>
          <p:cNvSpPr txBox="1">
            <a:spLocks/>
          </p:cNvSpPr>
          <p:nvPr/>
        </p:nvSpPr>
        <p:spPr bwMode="gray">
          <a:xfrm>
            <a:off x="8185151" y="3933824"/>
            <a:ext cx="3598862" cy="21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b="1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180975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360000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7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54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lphaLcParenR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None/>
              <a:defRPr sz="11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>
                <a:solidFill>
                  <a:schemeClr val="accent1"/>
                </a:solidFill>
              </a:rPr>
              <a:t>Führungslinien anzeigen</a:t>
            </a:r>
          </a:p>
          <a:p>
            <a:r>
              <a:rPr lang="de-DE" sz="1400" dirty="0">
                <a:solidFill>
                  <a:schemeClr val="tx2"/>
                </a:solidFill>
              </a:rPr>
              <a:t>Aktivieren Sie die Zeichnungslinien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über das Menü </a:t>
            </a:r>
            <a:r>
              <a:rPr lang="de-DE" sz="1400" b="1" dirty="0">
                <a:solidFill>
                  <a:schemeClr val="tx2"/>
                </a:solidFill>
              </a:rPr>
              <a:t>„Ansicht“ &gt; </a:t>
            </a:r>
            <a:br>
              <a:rPr lang="de-DE" sz="1400" b="1" dirty="0">
                <a:solidFill>
                  <a:schemeClr val="tx2"/>
                </a:solidFill>
              </a:rPr>
            </a:br>
            <a:r>
              <a:rPr lang="de-DE" sz="1400" b="1" dirty="0">
                <a:solidFill>
                  <a:schemeClr val="tx2"/>
                </a:solidFill>
              </a:rPr>
              <a:t>Anzeigen &gt; Führungslinien.</a:t>
            </a:r>
            <a:br>
              <a:rPr lang="de-DE" sz="1400" b="1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An den Zeichnungslinien lassen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sich Objekte einfacher ausrichten.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Optimieren Sie die Einstellungen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(wie im Beispiel zu sehen) über Klick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auf das Auswahlmenü.</a:t>
            </a:r>
          </a:p>
        </p:txBody>
      </p:sp>
      <p:sp>
        <p:nvSpPr>
          <p:cNvPr id="25" name="Rechteck 24"/>
          <p:cNvSpPr/>
          <p:nvPr/>
        </p:nvSpPr>
        <p:spPr bwMode="gray">
          <a:xfrm>
            <a:off x="4294983" y="1484313"/>
            <a:ext cx="3600450" cy="21605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66" tIns="119960" rIns="95966" bIns="959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b="1" u="sng" dirty="0" err="1">
              <a:solidFill>
                <a:schemeClr val="bg1"/>
              </a:solidFill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8185151" y="1484313"/>
            <a:ext cx="3598862" cy="21605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66" tIns="119960" rIns="95966" bIns="959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b="1" u="sng" dirty="0" err="1">
              <a:solidFill>
                <a:schemeClr val="bg1"/>
              </a:solidFill>
            </a:endParaRPr>
          </a:p>
        </p:txBody>
      </p:sp>
      <p:grpSp>
        <p:nvGrpSpPr>
          <p:cNvPr id="39" name="Gruppieren 38"/>
          <p:cNvGrpSpPr/>
          <p:nvPr/>
        </p:nvGrpSpPr>
        <p:grpSpPr>
          <a:xfrm>
            <a:off x="8757071" y="2022549"/>
            <a:ext cx="2447706" cy="1132275"/>
            <a:chOff x="6336196" y="2156460"/>
            <a:chExt cx="2268252" cy="1049020"/>
          </a:xfrm>
        </p:grpSpPr>
        <p:pic>
          <p:nvPicPr>
            <p:cNvPr id="40" name="Picture 5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66"/>
            <a:stretch/>
          </p:blipFill>
          <p:spPr bwMode="gray">
            <a:xfrm>
              <a:off x="7190059" y="2156460"/>
              <a:ext cx="1414389" cy="1028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6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/>
            <a:stretch/>
          </p:blipFill>
          <p:spPr bwMode="gray">
            <a:xfrm>
              <a:off x="6336196" y="2610883"/>
              <a:ext cx="780806" cy="5739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" name="Rechteck 41"/>
            <p:cNvSpPr/>
            <p:nvPr/>
          </p:nvSpPr>
          <p:spPr>
            <a:xfrm>
              <a:off x="7012536" y="3081340"/>
              <a:ext cx="119706" cy="12414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b="1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8040" y="1804252"/>
            <a:ext cx="2274334" cy="156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B367B93-2173-48A2-8FA9-976A03E61FB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8315" y="1572074"/>
            <a:ext cx="1742701" cy="19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13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>
            <a:off x="407988" y="1484312"/>
            <a:ext cx="11376025" cy="4897437"/>
          </a:xfrm>
          <a:prstGeom prst="rect">
            <a:avLst/>
          </a:prstGeom>
          <a:solidFill>
            <a:schemeClr val="bg2"/>
          </a:solidFill>
          <a:ln w="635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9" tIns="60939" rIns="121879" bIns="60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</a:rPr>
              <a:t>Bereich für Inhalte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de-DE"/>
              <a:t>Erklärung </a:t>
            </a:r>
            <a:br>
              <a:rPr lang="de-DE"/>
            </a:br>
            <a:r>
              <a:rPr lang="de-DE"/>
              <a:t>des Rasters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BB8C476-96A5-4CF8-8ABE-ACA7592E8F19}" type="datetime1">
              <a:rPr lang="de-DE" smtClean="0"/>
              <a:pPr/>
              <a:t>20.06.2024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27"/>
          </p:nvPr>
        </p:nvSpPr>
        <p:spPr/>
        <p:txBody>
          <a:bodyPr/>
          <a:lstStyle/>
          <a:p>
            <a:r>
              <a:rPr lang="de-DE"/>
              <a:t>Erklärungsfolien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 bwMode="gray">
          <a:xfrm>
            <a:off x="0" y="0"/>
            <a:ext cx="12192000" cy="1484307"/>
          </a:xfrm>
          <a:prstGeom prst="rect">
            <a:avLst/>
          </a:prstGeom>
          <a:solidFill>
            <a:srgbClr val="FFFFFF">
              <a:alpha val="80000"/>
            </a:srgbClr>
          </a:solidFill>
          <a:ln w="635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9" tIns="60939" rIns="121879" bIns="60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ereich für Titel, Logo und Kapitel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407989" y="6597652"/>
            <a:ext cx="11376024" cy="260346"/>
          </a:xfrm>
          <a:prstGeom prst="rect">
            <a:avLst/>
          </a:prstGeom>
          <a:solidFill>
            <a:srgbClr val="FFFFFF">
              <a:alpha val="60000"/>
            </a:srgbClr>
          </a:solidFill>
          <a:ln w="635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9" tIns="60939" rIns="121879" bIns="60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Bereich für Datum, Fußzeile und Foliennummer</a:t>
            </a:r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06800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>
            <a:off x="4008438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>
            <a:off x="4295775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>
            <a:off x="5951538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>
            <a:off x="6240463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>
            <a:off x="7893484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 bwMode="gray">
          <a:xfrm>
            <a:off x="8185150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 bwMode="gray">
          <a:xfrm>
            <a:off x="11783219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/>
          <p:cNvCxnSpPr/>
          <p:nvPr/>
        </p:nvCxnSpPr>
        <p:spPr bwMode="gray">
          <a:xfrm>
            <a:off x="0" y="404814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 bwMode="gray">
          <a:xfrm>
            <a:off x="0" y="1196975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 bwMode="gray">
          <a:xfrm>
            <a:off x="0" y="1482721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/>
          <p:nvPr/>
        </p:nvCxnSpPr>
        <p:spPr bwMode="gray">
          <a:xfrm>
            <a:off x="0" y="3789361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/>
          <p:cNvCxnSpPr/>
          <p:nvPr/>
        </p:nvCxnSpPr>
        <p:spPr bwMode="gray">
          <a:xfrm>
            <a:off x="0" y="4076700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/>
          <p:nvPr/>
        </p:nvCxnSpPr>
        <p:spPr bwMode="gray">
          <a:xfrm>
            <a:off x="0" y="6381750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/>
          <p:nvPr/>
        </p:nvCxnSpPr>
        <p:spPr bwMode="gray">
          <a:xfrm>
            <a:off x="0" y="6597650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408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3200" b="1" dirty="0"/>
              <a:t>Optimizing and securing data warehousing in the cloud with Amazon Redshift: Best practices and cost-benefit analysi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eeyush Singh l </a:t>
            </a:r>
            <a:r>
              <a:rPr lang="de-DE" dirty="0" err="1"/>
              <a:t>Shramish</a:t>
            </a:r>
            <a:r>
              <a:rPr lang="de-DE" dirty="0"/>
              <a:t> </a:t>
            </a:r>
            <a:r>
              <a:rPr lang="de-DE" dirty="0" err="1"/>
              <a:t>Kafle</a:t>
            </a:r>
            <a:endParaRPr lang="de-DE" dirty="0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4294967295"/>
          </p:nvPr>
        </p:nvSpPr>
        <p:spPr>
          <a:xfrm>
            <a:off x="527783" y="6890599"/>
            <a:ext cx="1009042" cy="260350"/>
          </a:xfrm>
        </p:spPr>
        <p:txBody>
          <a:bodyPr/>
          <a:lstStyle/>
          <a:p>
            <a:fld id="{F855CA7A-64CC-4CEA-BB65-02ED51AF645F}" type="datetime1">
              <a:rPr lang="de-DE" smtClean="0"/>
              <a:t>20.06.2024</a:t>
            </a:fld>
            <a:endParaRPr lang="de-DE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4294967295"/>
          </p:nvPr>
        </p:nvSpPr>
        <p:spPr>
          <a:xfrm>
            <a:off x="1536819" y="6890596"/>
            <a:ext cx="6671342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294967295"/>
          </p:nvPr>
        </p:nvSpPr>
        <p:spPr>
          <a:xfrm>
            <a:off x="11180740" y="6890595"/>
            <a:ext cx="480321" cy="260349"/>
          </a:xfrm>
        </p:spPr>
        <p:txBody>
          <a:bodyPr/>
          <a:lstStyle/>
          <a:p>
            <a:fld id="{2066355A-084C-D24E-9AD2-7E4FC41EA627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6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406400" y="1594981"/>
            <a:ext cx="11374560" cy="4897437"/>
          </a:xfrm>
        </p:spPr>
        <p:txBody>
          <a:bodyPr/>
          <a:lstStyle/>
          <a:p>
            <a:r>
              <a:rPr lang="en" sz="1600" b="1" dirty="0"/>
              <a:t>Introduction: Data Warehousing</a:t>
            </a:r>
          </a:p>
          <a:p>
            <a:r>
              <a:rPr lang="en" b="1" dirty="0"/>
              <a:t>Introduction: </a:t>
            </a:r>
            <a:r>
              <a:rPr lang="en-DE" b="1" dirty="0"/>
              <a:t>Amazon Redshift</a:t>
            </a:r>
          </a:p>
          <a:p>
            <a:r>
              <a:rPr lang="en-GB" b="1" dirty="0"/>
              <a:t>Overview of Amazon Redshift: Architecture</a:t>
            </a:r>
          </a:p>
          <a:p>
            <a:r>
              <a:rPr lang="en-GB" b="1" dirty="0"/>
              <a:t>Overview of Amazon Redshift: Features, and Capabilities</a:t>
            </a:r>
          </a:p>
          <a:p>
            <a:r>
              <a:rPr lang="en" sz="1600" b="1" dirty="0"/>
              <a:t>Optimizing Amazon Redshift Performance</a:t>
            </a:r>
          </a:p>
          <a:p>
            <a:r>
              <a:rPr lang="en" sz="1600" b="1" dirty="0"/>
              <a:t>Securing Your Redshift Environment</a:t>
            </a:r>
          </a:p>
          <a:p>
            <a:r>
              <a:rPr lang="en" sz="1600" b="1" dirty="0"/>
              <a:t>Cost-Benefit </a:t>
            </a:r>
            <a:r>
              <a:rPr lang="en" b="1" dirty="0"/>
              <a:t>A</a:t>
            </a:r>
            <a:r>
              <a:rPr lang="en" sz="1600" b="1" dirty="0"/>
              <a:t>nalysis</a:t>
            </a:r>
          </a:p>
          <a:p>
            <a:r>
              <a:rPr lang="en" sz="1600" b="1" dirty="0"/>
              <a:t>Conclusion</a:t>
            </a:r>
          </a:p>
          <a:p>
            <a:endParaRPr lang="de-DE" b="1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Agenda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0E726CA-4297-4D5D-BB64-B50431927A1B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527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en" sz="2000" b="1" dirty="0"/>
              <a:t>Introduction: Data Warehousing</a:t>
            </a:r>
            <a:endParaRPr lang="en-US" b="1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E9AACE-BDBD-415B-8195-34948F18EBB2}" type="datetime1">
              <a:rPr lang="de-DE" smtClean="0"/>
              <a:pPr/>
              <a:t>20.06.2024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5BC6987-1842-129C-5712-1F5B65661AD9}"/>
              </a:ext>
            </a:extLst>
          </p:cNvPr>
          <p:cNvSpPr txBox="1"/>
          <p:nvPr/>
        </p:nvSpPr>
        <p:spPr bwMode="gray">
          <a:xfrm>
            <a:off x="1915886" y="5921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 err="1">
              <a:solidFill>
                <a:schemeClr val="tx2"/>
              </a:solidFill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E87EA98C-0B56-B58F-C223-1FEC831A43C7}"/>
              </a:ext>
            </a:extLst>
          </p:cNvPr>
          <p:cNvSpPr txBox="1">
            <a:spLocks/>
          </p:cNvSpPr>
          <p:nvPr/>
        </p:nvSpPr>
        <p:spPr bwMode="gray">
          <a:xfrm>
            <a:off x="406454" y="1412776"/>
            <a:ext cx="11090146" cy="4968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Problem</a:t>
            </a:r>
            <a:r>
              <a:rPr lang="en-GB" dirty="0"/>
              <a:t>: Vast increase in data generation from various sources: IoT, social media, business transactions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Impact on Business</a:t>
            </a:r>
            <a:r>
              <a:rPr lang="en-GB" dirty="0"/>
              <a:t>: Necessity for businesses to leverage data for competitive advantage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Business Needs</a:t>
            </a:r>
            <a:r>
              <a:rPr lang="en-GB" dirty="0"/>
              <a:t>: Increasing reliance on data analytics to drive decisions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Benefits of Data Warehousing</a:t>
            </a:r>
            <a:r>
              <a:rPr lang="en-GB" dirty="0"/>
              <a:t>: Improved customer insights, product innovation, and operational efficiencies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r>
              <a:rPr lang="en-GB" b="1" dirty="0"/>
              <a:t>Challenges in traditional data management</a:t>
            </a:r>
            <a:r>
              <a:rPr lang="en-GB" dirty="0"/>
              <a:t>: </a:t>
            </a:r>
          </a:p>
          <a:p>
            <a:pPr marL="764550" lvl="2" indent="-285750">
              <a:buFont typeface="Arial" panose="020B0604020202020204" pitchFamily="34" charset="0"/>
              <a:buChar char="•"/>
            </a:pPr>
            <a:r>
              <a:rPr lang="en-GB" dirty="0"/>
              <a:t>Traditional data storage solutions struggling to scale efficiently.</a:t>
            </a:r>
          </a:p>
          <a:p>
            <a:pPr marL="764550" lvl="2" indent="-285750">
              <a:buFont typeface="Arial" panose="020B0604020202020204" pitchFamily="34" charset="0"/>
              <a:buChar char="•"/>
            </a:pPr>
            <a:r>
              <a:rPr lang="en-GB" dirty="0"/>
              <a:t>High costs and complexities in data storage management.</a:t>
            </a:r>
          </a:p>
          <a:p>
            <a:pPr marL="764550" lvl="2" indent="-285750">
              <a:buFont typeface="Arial" panose="020B0604020202020204" pitchFamily="34" charset="0"/>
              <a:buChar char="•"/>
            </a:pPr>
            <a:r>
              <a:rPr lang="en-GB" dirty="0"/>
              <a:t>Difficulty in processing and </a:t>
            </a:r>
            <a:r>
              <a:rPr lang="en-GB" dirty="0" err="1"/>
              <a:t>analyzing</a:t>
            </a:r>
            <a:r>
              <a:rPr lang="en-GB" dirty="0"/>
              <a:t> large datasets effectively.</a:t>
            </a:r>
          </a:p>
          <a:p>
            <a:pPr marL="764550" lvl="2" indent="-285750">
              <a:buFont typeface="Arial" panose="020B0604020202020204" pitchFamily="34" charset="0"/>
              <a:buChar char="•"/>
            </a:pPr>
            <a:r>
              <a:rPr lang="en-GB" dirty="0"/>
              <a:t>Increasing threats and regulatory requirements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620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A460FB-9870-2056-CBF0-DADE6440E98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6455" y="1484313"/>
            <a:ext cx="10874121" cy="9365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mazon Redshift is a fully managed, petabyte-scale data warehouse service in the clou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Launched by Amazon Web Services (AWS) in 2012.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esigned for large-scale data storage and analysis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59D6D4-5C57-F393-AB71-484A69F08E4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A653D1-872C-79F3-5212-DE389F35159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21F100-359F-BE37-44A0-D017DC05C28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1FD4DEE-2B01-52A6-08CD-D1A76CE70E7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52864B3-A62E-6D97-FE73-496F47EAC0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b="1" dirty="0"/>
              <a:t>Introduction: Amazon Redshift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18EEBBD4-4D51-0ED4-6397-76B32AF0B994}"/>
              </a:ext>
            </a:extLst>
          </p:cNvPr>
          <p:cNvSpPr txBox="1">
            <a:spLocks/>
          </p:cNvSpPr>
          <p:nvPr/>
        </p:nvSpPr>
        <p:spPr bwMode="gray">
          <a:xfrm>
            <a:off x="406454" y="2414817"/>
            <a:ext cx="5617538" cy="3966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Key Features:</a:t>
            </a:r>
            <a:endParaRPr lang="en-DE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Scalability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Easily scale from a few hundred gigabytes to a petabyte or more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Pay only for what you us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Performance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Columnar storage and data compression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Massively Parallel Processing (MPP) for fast query performanc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Integration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Seamlessly integrates with AWS services like S3, Glue, and </a:t>
            </a:r>
            <a:r>
              <a:rPr lang="en-GB" dirty="0" err="1"/>
              <a:t>QuickSight</a:t>
            </a:r>
            <a:r>
              <a:rPr lang="en-GB" dirty="0"/>
              <a:t>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Management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Automated backups, maintenance, and update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Redshift Spectrum allows querying data directly in S3.</a:t>
            </a:r>
          </a:p>
          <a:p>
            <a:pPr marL="523350" lvl="1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D124C14D-0D7A-F881-7C2F-81C5DA4676F2}"/>
              </a:ext>
            </a:extLst>
          </p:cNvPr>
          <p:cNvSpPr txBox="1">
            <a:spLocks/>
          </p:cNvSpPr>
          <p:nvPr/>
        </p:nvSpPr>
        <p:spPr bwMode="gray">
          <a:xfrm>
            <a:off x="6023992" y="2276476"/>
            <a:ext cx="5385414" cy="3966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nefits:</a:t>
            </a:r>
            <a:endParaRPr lang="en-DE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Cost-Effective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Cost-efficient pricing models (pay-as-you-go, reserved instances)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Pay only for what you us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High Availability and Security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dirty="0"/>
              <a:t>Built-in security features including encryption and VPC support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Ease of Use</a:t>
            </a:r>
          </a:p>
          <a:p>
            <a:pPr marL="764550" lvl="2" indent="-285750">
              <a:buFont typeface="Arial" panose="020B0604020202020204" pitchFamily="34" charset="0"/>
              <a:buChar char="•"/>
            </a:pPr>
            <a:r>
              <a:rPr lang="en-GB" sz="1200" dirty="0"/>
              <a:t>SQL-based interface.</a:t>
            </a:r>
          </a:p>
          <a:p>
            <a:pPr marL="764550" lvl="2" indent="-285750">
              <a:buFont typeface="Arial" panose="020B0604020202020204" pitchFamily="34" charset="0"/>
              <a:buChar char="•"/>
            </a:pPr>
            <a:r>
              <a:rPr lang="en-GB" sz="1200" dirty="0"/>
              <a:t>Comprehensive management through AWS Management Console.</a:t>
            </a:r>
          </a:p>
        </p:txBody>
      </p:sp>
      <p:pic>
        <p:nvPicPr>
          <p:cNvPr id="1028" name="Picture 4" descr="Amazon Redshift Logo PNG vector in SVG, PDF, AI, CDR format">
            <a:extLst>
              <a:ext uri="{FF2B5EF4-FFF2-40B4-BE49-F238E27FC236}">
                <a16:creationId xmlns:a16="http://schemas.microsoft.com/office/drawing/2014/main" id="{72DDEED9-35E5-2C25-3F04-8932D17150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0256" y="14077"/>
            <a:ext cx="1850981" cy="138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079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1D168B-2198-2415-CE5A-1F0822B990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6455" y="1124508"/>
            <a:ext cx="11374505" cy="5473141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GB" sz="1100" b="1" dirty="0"/>
              <a:t>Columnar Storag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Efficient storage format that reduces I/O and enhances query performanc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Unlike traditional row-based storage, data in columnar storage is stored by columns rather than row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Each column's data is stored together, allowing for efficient data compression and retrieval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Columns often contain similar data types and repeated values, making them highly compressible. Efficient compression reduces storage space and speeds up data retrieval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Queries typically access a subset of columns rather than entire rows. Reading only the relevant columns minimizes the amount of data scanned and accelerates query executio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Ideal for analytical workloads where operations are performed on large datasets and specific columns like aggregations and filtering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100" b="1" dirty="0"/>
              <a:t>Massively Parallel Processing (MPP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Distributes data and query load across multiple nodes for fast performance, drastically reducing query time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MPP uses a cluster of nodes where each node processes a portion of the data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Leader node</a:t>
            </a:r>
            <a:r>
              <a:rPr lang="en-GB" sz="1100" dirty="0"/>
              <a:t>: Receives queries and plans the execution strategy and distributes parts of the query to different compute node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Compute nodes</a:t>
            </a:r>
            <a:r>
              <a:rPr lang="en-GB" sz="1100" dirty="0"/>
              <a:t>: Each node works on a portion of the data simultaneously and results are sent back to the leader node for aggregatio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Scalability</a:t>
            </a:r>
            <a:r>
              <a:rPr lang="en-GB" sz="1100" dirty="0"/>
              <a:t>: Easily add more nodes to handle larger datasets and more complex querie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Load Balancing</a:t>
            </a:r>
            <a:r>
              <a:rPr lang="en-GB" sz="1100" dirty="0"/>
              <a:t>: Distributes the query load evenly across nodes, preventing bottleneck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100" b="1" dirty="0"/>
              <a:t>High-Performance Query Execution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dirty="0"/>
              <a:t>Optimized for complex queries and large data set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Cost-Based Optimizer</a:t>
            </a:r>
            <a:r>
              <a:rPr lang="en-GB" sz="1100" dirty="0"/>
              <a:t>: </a:t>
            </a:r>
            <a:r>
              <a:rPr lang="en-GB" sz="1100" dirty="0" err="1"/>
              <a:t>Analyzes</a:t>
            </a:r>
            <a:r>
              <a:rPr lang="en-GB" sz="1100" dirty="0"/>
              <a:t> multiple execution plans and selects the most efficient on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Statistics Collection</a:t>
            </a:r>
            <a:r>
              <a:rPr lang="en-GB" sz="1100" dirty="0"/>
              <a:t>: Gathers and uses data distribution statistics to improve query performanc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Automatic Rewriting</a:t>
            </a:r>
            <a:r>
              <a:rPr lang="en-GB" sz="1100" dirty="0"/>
              <a:t>: Optimizes queries by rewriting them for better performanc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Concurrency Scaling</a:t>
            </a:r>
            <a:r>
              <a:rPr lang="en-GB" sz="1100" dirty="0"/>
              <a:t>: Automatically adds capacity to handle multiple concurrent querie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Result Caching</a:t>
            </a:r>
            <a:r>
              <a:rPr lang="en-GB" sz="1100" dirty="0"/>
              <a:t>: Stores results of previously executed queries to speed up repeated query execution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Materialized Views</a:t>
            </a:r>
            <a:r>
              <a:rPr lang="en-GB" sz="1100" dirty="0"/>
              <a:t>: Precomputed and stored query results for faster access to frequently queried data.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GB" sz="1100" dirty="0"/>
          </a:p>
          <a:p>
            <a:pPr lvl="2">
              <a:buFont typeface="Arial" panose="020B0604020202020204" pitchFamily="34" charset="0"/>
              <a:buChar char="•"/>
            </a:pPr>
            <a:endParaRPr lang="en-GB" sz="11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86CDD4-9FAC-096D-4323-68EEF98978B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1D0FD1-173A-CB79-13A5-31B740B2F49A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EB65BD-0E42-EDA5-5E54-35663173CD0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E4D9F3-EC2E-C2A7-5F24-73DCFD920F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80262B1-D670-3ABD-BF8F-A69B010F1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Overview of Amazon Redshift: Architecture</a:t>
            </a:r>
            <a:endParaRPr lang="en-DE" b="1" dirty="0"/>
          </a:p>
        </p:txBody>
      </p:sp>
    </p:spTree>
    <p:extLst>
      <p:ext uri="{BB962C8B-B14F-4D97-AF65-F5344CB8AC3E}">
        <p14:creationId xmlns:p14="http://schemas.microsoft.com/office/powerpoint/2010/main" val="50184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86CDD4-9FAC-096D-4323-68EEF98978B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1D0FD1-173A-CB79-13A5-31B740B2F49A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EB65BD-0E42-EDA5-5E54-35663173CD0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E4D9F3-EC2E-C2A7-5F24-73DCFD920F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80262B1-D670-3ABD-BF8F-A69B010F1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Overview of Amazon Redshift: Features, and Capabilities</a:t>
            </a:r>
            <a:endParaRPr lang="en-DE" b="1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35250686-C701-951D-0687-09474C86DA8D}"/>
              </a:ext>
            </a:extLst>
          </p:cNvPr>
          <p:cNvSpPr txBox="1">
            <a:spLocks/>
          </p:cNvSpPr>
          <p:nvPr/>
        </p:nvSpPr>
        <p:spPr bwMode="gray">
          <a:xfrm>
            <a:off x="406454" y="1052736"/>
            <a:ext cx="5673239" cy="5544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tegration with AWS Servic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S3 for Data Storage</a:t>
            </a:r>
            <a:endParaRPr lang="en-GB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Seamless Data Loading</a:t>
            </a:r>
            <a:r>
              <a:rPr lang="en-GB" dirty="0"/>
              <a:t>: Easily load data into Redshift from S3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Scalable Data Storage</a:t>
            </a:r>
            <a:r>
              <a:rPr lang="en-GB" dirty="0"/>
              <a:t>: Store vast amounts of data with high durability and availability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Data Lake Integration</a:t>
            </a:r>
            <a:r>
              <a:rPr lang="en-GB" dirty="0"/>
              <a:t>: Use S3 as a data lake for storing diverse datasets.</a:t>
            </a:r>
          </a:p>
          <a:p>
            <a:pPr lvl="3">
              <a:buFont typeface="Arial" panose="020B0604020202020204" pitchFamily="34" charset="0"/>
              <a:buChar char="•"/>
            </a:pPr>
            <a:endParaRPr lang="en-GB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AWS Data Pipeline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Automated Data Workflows</a:t>
            </a:r>
            <a:r>
              <a:rPr lang="en-GB" dirty="0"/>
              <a:t>: Define data-driven workflows to automate data movement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Reliable Data Transfer</a:t>
            </a:r>
            <a:r>
              <a:rPr lang="en-GB" dirty="0"/>
              <a:t>: Ensure data is moved reliably and on schedule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Integration with Other AWS Services</a:t>
            </a:r>
            <a:r>
              <a:rPr lang="en-GB" dirty="0"/>
              <a:t>: Connect Redshift with other AWS services for comprehensive data processing.</a:t>
            </a:r>
          </a:p>
          <a:p>
            <a:pPr lvl="3">
              <a:buFont typeface="Arial" panose="020B0604020202020204" pitchFamily="34" charset="0"/>
              <a:buChar char="•"/>
            </a:pPr>
            <a:endParaRPr lang="en-GB" b="1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Amazon </a:t>
            </a:r>
            <a:r>
              <a:rPr lang="en-GB" b="1" dirty="0" err="1"/>
              <a:t>QuickSight</a:t>
            </a:r>
            <a:endParaRPr lang="en-GB" b="1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Advanced Data Visualization</a:t>
            </a:r>
            <a:r>
              <a:rPr lang="en-GB" dirty="0"/>
              <a:t>: Create interactive dashboards and visualization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Real-Time Analytics</a:t>
            </a:r>
            <a:r>
              <a:rPr lang="en-GB" dirty="0"/>
              <a:t>: Perform real-time analytics on Redshift data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Easy-to-Use Interface</a:t>
            </a:r>
            <a:r>
              <a:rPr lang="en-GB" dirty="0"/>
              <a:t>: User-friendly interface for creating and sharing insights.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GB" b="1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829BE1DF-28E8-4249-B42C-4178AC6069A1}"/>
              </a:ext>
            </a:extLst>
          </p:cNvPr>
          <p:cNvSpPr txBox="1">
            <a:spLocks/>
          </p:cNvSpPr>
          <p:nvPr/>
        </p:nvSpPr>
        <p:spPr bwMode="gray">
          <a:xfrm>
            <a:off x="6079693" y="1052736"/>
            <a:ext cx="5847343" cy="5688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Key Features of Amazon Redshift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Automatic Backup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Scheduled Backups</a:t>
            </a:r>
            <a:r>
              <a:rPr lang="en-GB" dirty="0"/>
              <a:t>: Redshift automatically performs regular backups of your data. Appropriate retention policies can be set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Point-in-Time Recovery</a:t>
            </a:r>
            <a:r>
              <a:rPr lang="en-GB" dirty="0"/>
              <a:t>: Allows restoration of data to any specific point in time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Cross-Region Backups</a:t>
            </a:r>
            <a:r>
              <a:rPr lang="en-GB" dirty="0"/>
              <a:t>: Replicate snapshots to different AWS regions for disaster recovery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Data Compression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Columnar Storage Compression</a:t>
            </a:r>
            <a:r>
              <a:rPr lang="en-GB" dirty="0"/>
              <a:t>:</a:t>
            </a:r>
            <a:r>
              <a:rPr lang="en-GB" b="1" dirty="0"/>
              <a:t> </a:t>
            </a:r>
            <a:r>
              <a:rPr lang="en-GB" dirty="0"/>
              <a:t>Data is stored in a columnar format, which allows high compression rate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Reduced Storage Costs</a:t>
            </a:r>
            <a:r>
              <a:rPr lang="en-GB" dirty="0"/>
              <a:t>: Compressing data minimizes storage requirements and cost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Faster Query Performance</a:t>
            </a:r>
            <a:r>
              <a:rPr lang="en-GB" dirty="0"/>
              <a:t>: Compressed data reduces I/O, speeding up query executio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b="1" dirty="0"/>
              <a:t>Redshift Compliance Certifications</a:t>
            </a:r>
            <a:endParaRPr lang="en-GB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HIPAA (Health Insurance Portability and Accountability Act)</a:t>
            </a:r>
            <a:endParaRPr lang="en-GB" dirty="0"/>
          </a:p>
          <a:p>
            <a:pPr marL="984150" lvl="2" indent="-285750">
              <a:buFont typeface="Arial" panose="020B0604020202020204" pitchFamily="34" charset="0"/>
              <a:buChar char="•"/>
            </a:pPr>
            <a:r>
              <a:rPr lang="en-GB" sz="1200" dirty="0"/>
              <a:t>Ensures protection of healthcare data.</a:t>
            </a:r>
          </a:p>
          <a:p>
            <a:pPr marL="984150" lvl="2" indent="-285750">
              <a:buFont typeface="Arial" panose="020B0604020202020204" pitchFamily="34" charset="0"/>
              <a:buChar char="•"/>
            </a:pPr>
            <a:r>
              <a:rPr lang="en-GB" sz="1200" dirty="0"/>
              <a:t>Compliance with stringent security and privacy standard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b="1" dirty="0"/>
              <a:t>GDPR (General Data Protection Regulation)</a:t>
            </a:r>
          </a:p>
          <a:p>
            <a:pPr marL="984150" lvl="2" indent="-285750">
              <a:buFont typeface="Arial" panose="020B0604020202020204" pitchFamily="34" charset="0"/>
              <a:buChar char="•"/>
            </a:pPr>
            <a:r>
              <a:rPr lang="en-GB" sz="1200" dirty="0"/>
              <a:t>Safeguards personal data and enhances data privacy rights.</a:t>
            </a:r>
          </a:p>
          <a:p>
            <a:pPr marL="984150" lvl="2" indent="-285750">
              <a:buFont typeface="Arial" panose="020B0604020202020204" pitchFamily="34" charset="0"/>
              <a:buChar char="•"/>
            </a:pPr>
            <a:r>
              <a:rPr lang="en-GB" sz="1200" dirty="0"/>
              <a:t>Requires data protection measures and compliance checks.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GB" dirty="0"/>
          </a:p>
          <a:p>
            <a:pPr lvl="3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90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B493E5C-1671-8393-5E22-275E354759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1343" y="1066802"/>
            <a:ext cx="5471641" cy="5661024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Cluster management:</a:t>
            </a:r>
            <a:endParaRPr lang="en-GB" sz="12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Choosing the right cluster size and type for your workload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Data Volume: Larger datasets require more nodes to ensure efficient processing and storage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Query Complexity: Complex queries benefit from more compute power and memory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Node Types: Dense Compute vs. Dense Storage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Dense Compute (DC): </a:t>
            </a:r>
            <a:r>
              <a:rPr lang="en-GB" sz="1100" dirty="0"/>
              <a:t>High-performance CPUs and large amounts of RAM. Ideal for intensive query processing and performance-critical application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Use Case: Real-time analytics and dashboards, High-frequency trading platform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Dense Storage (DS)</a:t>
            </a:r>
            <a:r>
              <a:rPr lang="en-GB" sz="1100" dirty="0"/>
              <a:t>: Larger disk storage capacity at a lower cost. Suitable for massive datasets where storage capacity is more critical than compute power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Use Case: Archiving and historical data analysis, Data lakes with large volumes of infrequently accessed data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Workload management:</a:t>
            </a:r>
            <a:endParaRPr lang="en-GB" sz="12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Manages query concurrency and resource allocatio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Define query queues with specific memory and concurrency setting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Allocates resources dynamically based on workload demand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Ensures high-priority queries get the necessary resource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Prevents lower-priority queries from consuming too many resource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Define queue priorities, memory allocation, and concurrency settings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GB" sz="11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145FC8-AEC6-287F-41EC-973C67D8743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6FFDF9-8029-4EF7-AFD6-2C3DF9A791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412FFC-6FF9-5A88-FB06-94E2C12267D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9023C95-08A6-42AE-65AE-1A74EEF00C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49E160C-1B5A-A8B2-10BC-4A7FD9E61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2000" b="1" dirty="0"/>
              <a:t>Optimizing Amazon Redshift Performance</a:t>
            </a:r>
            <a:endParaRPr lang="en-DE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4D33802-C9C2-EE91-1FCF-181FCF7038E9}"/>
              </a:ext>
            </a:extLst>
          </p:cNvPr>
          <p:cNvSpPr txBox="1">
            <a:spLocks/>
          </p:cNvSpPr>
          <p:nvPr/>
        </p:nvSpPr>
        <p:spPr bwMode="gray">
          <a:xfrm>
            <a:off x="5663038" y="1066802"/>
            <a:ext cx="6528962" cy="56610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Data Distribution Styles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Determines how data is distributed across node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Types: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KEY</a:t>
            </a:r>
            <a:r>
              <a:rPr lang="en-GB" sz="1100" dirty="0"/>
              <a:t>: Distributes rows based on the values of one or more column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EVEN</a:t>
            </a:r>
            <a:r>
              <a:rPr lang="en-GB" sz="1100" dirty="0"/>
              <a:t>: Distributes rows evenly across all node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ALL</a:t>
            </a:r>
            <a:r>
              <a:rPr lang="en-GB" sz="1100" dirty="0"/>
              <a:t>: Copies the entire table to every node.</a:t>
            </a:r>
            <a:endParaRPr lang="en-GB" sz="1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Sort Keys</a:t>
            </a:r>
            <a:r>
              <a:rPr lang="en-GB" sz="1200" dirty="0"/>
              <a:t>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Determines the order in which data is physically stored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Improves query performance by reducing the amount of data scanned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Types: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Compound Sort Key</a:t>
            </a:r>
            <a:r>
              <a:rPr lang="en-GB" sz="1100" dirty="0"/>
              <a:t>: Sorts data based on a combination of column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Interleaved Sort Key</a:t>
            </a:r>
            <a:r>
              <a:rPr lang="en-GB" sz="1100" dirty="0"/>
              <a:t>: Allows for efficient querying on multiple columns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Data loading and unloading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Parallel Data Loading: </a:t>
            </a:r>
            <a:r>
              <a:rPr lang="en-GB" sz="1100" dirty="0"/>
              <a:t>Use COPY command with PARALLEL option to load data in parallel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Data Distribution</a:t>
            </a:r>
            <a:r>
              <a:rPr lang="en-GB" sz="1100" dirty="0"/>
              <a:t>: Pre-sort data files to align with Redshift's distribution key for optimal loading.</a:t>
            </a:r>
            <a:endParaRPr lang="en-GB" sz="1100" b="1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Optimized File Formats</a:t>
            </a:r>
            <a:r>
              <a:rPr lang="en-GB" sz="1100" dirty="0"/>
              <a:t>:</a:t>
            </a:r>
            <a:r>
              <a:rPr lang="en-GB" sz="1100" b="1" dirty="0"/>
              <a:t> </a:t>
            </a:r>
            <a:r>
              <a:rPr lang="en-GB" sz="1100" dirty="0"/>
              <a:t>Choose efficient file formats like AVRO, Parquet, or ORC for data loading/unloading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Data Compression</a:t>
            </a:r>
            <a:r>
              <a:rPr lang="en-GB" sz="1100" dirty="0"/>
              <a:t>: Compress data files to reduce storage and improve loading/unloading performance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Tools for Optimization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AWS Glue</a:t>
            </a:r>
            <a:r>
              <a:rPr lang="en-GB" sz="1100" dirty="0"/>
              <a:t>: Use AWS Glue for data preparation and ETL tasks before loading into Redshift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Amazon EMR</a:t>
            </a:r>
            <a:r>
              <a:rPr lang="en-GB" sz="1100" dirty="0"/>
              <a:t>: Process and transform data using Amazon EMR before loading into Redshift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Data Pipeline</a:t>
            </a:r>
            <a:r>
              <a:rPr lang="en-GB" sz="1100" dirty="0"/>
              <a:t>: Orchestrate complex data workflows involving Redshift and other AWS services.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GB" sz="1100" b="1" dirty="0"/>
          </a:p>
          <a:p>
            <a:pPr lvl="2">
              <a:buFont typeface="Arial" panose="020B0604020202020204" pitchFamily="34" charset="0"/>
              <a:buChar char="•"/>
            </a:pPr>
            <a:endParaRPr lang="en-GB" sz="1100" dirty="0"/>
          </a:p>
          <a:p>
            <a:pPr lvl="2">
              <a:buFont typeface="Arial" panose="020B0604020202020204" pitchFamily="34" charset="0"/>
              <a:buChar char="•"/>
            </a:pPr>
            <a:endParaRPr lang="en-GB" sz="1100" dirty="0"/>
          </a:p>
          <a:p>
            <a:endParaRPr lang="en-DE" sz="1100" dirty="0"/>
          </a:p>
        </p:txBody>
      </p:sp>
    </p:spTree>
    <p:extLst>
      <p:ext uri="{BB962C8B-B14F-4D97-AF65-F5344CB8AC3E}">
        <p14:creationId xmlns:p14="http://schemas.microsoft.com/office/powerpoint/2010/main" val="169319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05C9169-40FC-F3BC-D747-50E8810F0BA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0.06.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ACA2F0-82F4-719F-4C71-0834692811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556D2-8266-F3A5-A075-77C48725E7D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81FDB94-49DE-65CD-47A9-DBBE7755DAA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D51B129-2092-E93A-846F-E85D17427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2000" b="1" dirty="0"/>
              <a:t>Securing Your Redshift Environment</a:t>
            </a:r>
            <a:endParaRPr lang="en-DE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15FECD96-6805-9F26-9C61-9840D1E3BB2C}"/>
              </a:ext>
            </a:extLst>
          </p:cNvPr>
          <p:cNvSpPr txBox="1">
            <a:spLocks/>
          </p:cNvSpPr>
          <p:nvPr/>
        </p:nvSpPr>
        <p:spPr bwMode="gray">
          <a:xfrm>
            <a:off x="406454" y="1057092"/>
            <a:ext cx="6697658" cy="56610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/>
              <a:t>Access Control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IAM (Identity and Access Management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Assign minimum necessary permissions to IAM roles and security groups to reduce the risk of unauthorized acces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Multi-Factor Authentication (MFA)</a:t>
            </a:r>
            <a:r>
              <a:rPr lang="en-GB" sz="1100" dirty="0"/>
              <a:t>: Enhance security with MFA for database acces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Database User Roles and Permissions</a:t>
            </a:r>
            <a:r>
              <a:rPr lang="en-GB" sz="1100" dirty="0"/>
              <a:t>: Define granular permissions for database users and group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Cluster Operations:</a:t>
            </a:r>
            <a:r>
              <a:rPr lang="en-GB" sz="1100" dirty="0"/>
              <a:t> Assign IAM roles to users or applications that need to perform management operations on Redshift clusters, such as cluster creation, deletion, or modification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Data Access:</a:t>
            </a:r>
            <a:r>
              <a:rPr lang="en-GB" sz="1100" dirty="0"/>
              <a:t> Use IAM roles to grant permissions for accessing specific Redshift databases, tables, or views based on the principle of least privilege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Integration with Other AWS Services:</a:t>
            </a:r>
            <a:r>
              <a:rPr lang="en-GB" sz="1100" dirty="0"/>
              <a:t> IAM roles facilitate secure integration with other AWS services like AWS Glue for ETL tasks or Amazon S3 for data loading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400" b="1" dirty="0"/>
              <a:t>Security Group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Inbound Rules:</a:t>
            </a:r>
            <a:r>
              <a:rPr lang="en-GB" sz="1100" dirty="0"/>
              <a:t> Define rules to allow specific IP addresses, CIDR blocks, or other security groups to access Redshift clusters via designated ports (e.g., port 5439 for Redshift)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Outbound Rules:</a:t>
            </a:r>
            <a:r>
              <a:rPr lang="en-GB" sz="1100" dirty="0"/>
              <a:t> Specify outbound traffic rules to control communication initiated by Redshift clusters to other resources within the VPC or external endpoint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VPC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Isolation:</a:t>
            </a:r>
            <a:r>
              <a:rPr lang="en-GB" sz="1100" dirty="0"/>
              <a:t> Place your Amazon Redshift clusters within a VPC to isolate them from the public internet and other AWS resources not explicitly allowed acces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Private Subnets:</a:t>
            </a:r>
            <a:r>
              <a:rPr lang="en-GB" sz="1100" dirty="0"/>
              <a:t> Deploy Redshift clusters in private subnets within the VPC to prevent direct internet access and limit exposure to unauthorized access attempts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b="1" dirty="0"/>
              <a:t>Routing and Access Control:</a:t>
            </a:r>
            <a:r>
              <a:rPr lang="en-GB" sz="1100" dirty="0"/>
              <a:t> Use route tables and network ACLs (Access Control Lists) within the VPC to manage inbound and outbound traffic flows to and from Redshift clusters.</a:t>
            </a:r>
            <a:endParaRPr lang="en-GB" sz="1100" b="1" dirty="0"/>
          </a:p>
          <a:p>
            <a:pPr lvl="1">
              <a:buFont typeface="Arial" panose="020B0604020202020204" pitchFamily="34" charset="0"/>
              <a:buChar char="•"/>
            </a:pPr>
            <a:endParaRPr lang="en-GB" sz="1100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EDF671A6-D959-24E1-4155-ABBFB272CEF1}"/>
              </a:ext>
            </a:extLst>
          </p:cNvPr>
          <p:cNvSpPr txBox="1">
            <a:spLocks/>
          </p:cNvSpPr>
          <p:nvPr/>
        </p:nvSpPr>
        <p:spPr bwMode="gray">
          <a:xfrm>
            <a:off x="7248128" y="1200878"/>
            <a:ext cx="4532832" cy="56610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239698" indent="0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en-GB" sz="1200" b="1" dirty="0">
                <a:solidFill>
                  <a:schemeClr val="dk1"/>
                </a:solidFill>
              </a:rPr>
              <a:t>Data Encryption </a:t>
            </a:r>
            <a:r>
              <a:rPr lang="en-GB" sz="1200" b="1" dirty="0"/>
              <a:t>:</a:t>
            </a:r>
            <a:endParaRPr lang="en-GB" sz="12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Encryption at Rest</a:t>
            </a:r>
            <a:r>
              <a:rPr lang="en-GB" sz="1100" dirty="0"/>
              <a:t>: Encrypt data stored in Redshift clusters using AWS KMS (Key Management Service) or HSM (Hardware Security Module)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Encryption in Transit</a:t>
            </a:r>
            <a:r>
              <a:rPr lang="en-GB" sz="1100" dirty="0"/>
              <a:t>: Secure data transmission with SSL (Secure Sockets Layer) connections between client applications and Redshift cluster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Automatic Data Encryption</a:t>
            </a:r>
            <a:r>
              <a:rPr lang="en-GB" sz="1100" dirty="0"/>
              <a:t>: Enable automatic encryption for snapshots, backups, and replicas.</a:t>
            </a:r>
            <a:endParaRPr lang="en-GB" sz="1100" b="1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b="1" dirty="0"/>
              <a:t>Monitoring &amp; Auditing:</a:t>
            </a:r>
            <a:endParaRPr lang="en-GB" sz="1100" b="1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CloudWatch Metrics</a:t>
            </a:r>
            <a:r>
              <a:rPr lang="en-GB" sz="1100" dirty="0"/>
              <a:t>: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Gain insights into how your Redshift clusters are performing in real-time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Set alarms to alert you of potential issues before they impact users or applications.</a:t>
            </a:r>
            <a:endParaRPr lang="en-GB" sz="1100" b="1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Use metrics to optimize cluster configurations and resource allocation based on workload patterns.</a:t>
            </a:r>
            <a:endParaRPr lang="en-GB" sz="900" b="1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AWS CloudTrail</a:t>
            </a:r>
            <a:r>
              <a:rPr lang="en-GB" sz="1100" dirty="0"/>
              <a:t>: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Logs API calls made to Redshift, including who made the call, what actions were performed, and from where the request originated.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GB" sz="1100" dirty="0"/>
              <a:t>Tracks changes to Redshift clusters, configurations, security settings, and other AWS resources, enabling you to understand the history of resource modifications.</a:t>
            </a:r>
            <a:endParaRPr lang="en-GB" sz="900" b="1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100" b="1" dirty="0"/>
              <a:t>VPC Flow Logs</a:t>
            </a:r>
            <a:r>
              <a:rPr lang="en-GB" sz="1100" dirty="0"/>
              <a:t>: Capture network traffic to and from Redshift clusters for security analysis.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GB" sz="1100" b="1" dirty="0"/>
          </a:p>
          <a:p>
            <a:pPr lvl="1">
              <a:buFont typeface="Arial" panose="020B0604020202020204" pitchFamily="34" charset="0"/>
              <a:buChar char="•"/>
            </a:pP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414997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ddd969b99f4de63d55cbadae081c666c3411ba"/>
  <p:tag name="FINNOVA_CATEGORY" val="No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P PowerPoint Template 2017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HP_Template_2018_16-9_DE_08_EXP" id="{E33D701B-B5D0-4F7E-A25A-EE1CA49B9468}" vid="{49FD3652-60DB-4E15-A215-3365BCE38AC5}"/>
    </a:ext>
  </a:extLst>
</a:theme>
</file>

<file path=ppt/theme/theme2.xml><?xml version="1.0" encoding="utf-8"?>
<a:theme xmlns:a="http://schemas.openxmlformats.org/drawingml/2006/main" name="Larissa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0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000"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Props1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www.w3.org/XML/1998/namespace"/>
    <ds:schemaRef ds:uri="http://schemas.microsoft.com/office/2006/metadata/properties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sharepoint/v3/field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HP PowerPoint Template 2017</Template>
  <TotalTime>2761</TotalTime>
  <Words>2814</Words>
  <Application>Microsoft Office PowerPoint</Application>
  <PresentationFormat>Widescreen</PresentationFormat>
  <Paragraphs>304</Paragraphs>
  <Slides>16</Slides>
  <Notes>9</Notes>
  <HiddenSlides>3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MHP PowerPoint Template 2017</vt:lpstr>
      <vt:lpstr>PowerPoint Presentation</vt:lpstr>
      <vt:lpstr>Optimizing and securing data warehousing in the cloud with Amazon Redshift: Best practices and cost-benefit analysis</vt:lpstr>
      <vt:lpstr>Agenda</vt:lpstr>
      <vt:lpstr>Introduction: Data Warehousing</vt:lpstr>
      <vt:lpstr>Introduction: Amazon Redshift</vt:lpstr>
      <vt:lpstr>Overview of Amazon Redshift: Architecture</vt:lpstr>
      <vt:lpstr>Overview of Amazon Redshift: Features, and Capabilities</vt:lpstr>
      <vt:lpstr>Optimizing Amazon Redshift Performance</vt:lpstr>
      <vt:lpstr>Securing Your Redshift Environment</vt:lpstr>
      <vt:lpstr>Cost-Benefit Analysis</vt:lpstr>
      <vt:lpstr>Conclusion</vt:lpstr>
      <vt:lpstr>PowerPoint Presentation</vt:lpstr>
      <vt:lpstr>PowerPoint Presentation</vt:lpstr>
      <vt:lpstr>Erklärung der Textebenen,  Segoe UI, 20pt, blau</vt:lpstr>
      <vt:lpstr>Erklärung  der Layouts</vt:lpstr>
      <vt:lpstr>Erklärung  des Rast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eyush Singh</dc:creator>
  <cp:lastModifiedBy>Singh, Peeyush (EXTERN: MHP)</cp:lastModifiedBy>
  <cp:revision>4</cp:revision>
  <cp:lastPrinted>2016-01-13T10:07:22Z</cp:lastPrinted>
  <dcterms:created xsi:type="dcterms:W3CDTF">2024-01-30T11:38:56Z</dcterms:created>
  <dcterms:modified xsi:type="dcterms:W3CDTF">2024-06-21T06:59:5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